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68" r:id="rId5"/>
  </p:sldMasterIdLst>
  <p:notesMasterIdLst>
    <p:notesMasterId r:id="rId23"/>
  </p:notesMasterIdLst>
  <p:handoutMasterIdLst>
    <p:handoutMasterId r:id="rId24"/>
  </p:handoutMasterIdLst>
  <p:sldIdLst>
    <p:sldId id="280" r:id="rId6"/>
    <p:sldId id="279" r:id="rId7"/>
    <p:sldId id="291" r:id="rId8"/>
    <p:sldId id="292" r:id="rId9"/>
    <p:sldId id="293" r:id="rId10"/>
    <p:sldId id="294" r:id="rId11"/>
    <p:sldId id="295" r:id="rId12"/>
    <p:sldId id="296" r:id="rId13"/>
    <p:sldId id="297" r:id="rId14"/>
    <p:sldId id="298" r:id="rId15"/>
    <p:sldId id="299" r:id="rId16"/>
    <p:sldId id="300" r:id="rId17"/>
    <p:sldId id="301" r:id="rId18"/>
    <p:sldId id="302" r:id="rId19"/>
    <p:sldId id="304" r:id="rId20"/>
    <p:sldId id="305" r:id="rId21"/>
    <p:sldId id="306" r:id="rId22"/>
  </p:sldIdLst>
  <p:sldSz cx="13439775" cy="7559675"/>
  <p:notesSz cx="6797675" cy="9928225"/>
  <p:custDataLst>
    <p:tags r:id="rId25"/>
  </p:custDataLst>
  <p:defaultTextStyle>
    <a:defPPr>
      <a:defRPr lang="de-DE"/>
    </a:defPPr>
    <a:lvl1pPr marL="0" algn="l" defTabSz="99538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692" algn="l" defTabSz="99538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381" algn="l" defTabSz="99538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073" algn="l" defTabSz="99538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0763" algn="l" defTabSz="99538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8454" algn="l" defTabSz="99538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6144" algn="l" defTabSz="99538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3836" algn="l" defTabSz="99538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1526" algn="l" defTabSz="99538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7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2">
          <p15:clr>
            <a:srgbClr val="A4A3A4"/>
          </p15:clr>
        </p15:guide>
        <p15:guide id="5" orient="horz" pos="3225">
          <p15:clr>
            <a:srgbClr val="A4A3A4"/>
          </p15:clr>
        </p15:guide>
        <p15:guide id="6" orient="horz" pos="312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phael Müller" initials="RM" lastIdx="8" clrIdx="0"/>
  <p:cmAuthor id="1" name="Michael Keller" initials="MK" lastIdx="1" clrIdx="1"/>
  <p:cmAuthor id="2" name="Manuel Rütsche" initials="MR" lastIdx="10" clrIdx="2"/>
  <p:cmAuthor id="3" name="Christian Huber" initials="CHue" lastIdx="15" clrIdx="3"/>
  <p:cmAuthor id="4" name="Alessandro Portale" initials="AP" lastIdx="29" clrIdx="4">
    <p:extLst>
      <p:ext uri="{19B8F6BF-5375-455C-9EA6-DF929625EA0E}">
        <p15:presenceInfo xmlns:p15="http://schemas.microsoft.com/office/powerpoint/2012/main" userId="S-1-5-21-473390475-1529311695-326569147-3433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B2B2"/>
    <a:srgbClr val="FFFFFF"/>
    <a:srgbClr val="E6E6E6"/>
    <a:srgbClr val="565656"/>
    <a:srgbClr val="575757"/>
    <a:srgbClr val="F1F1F1"/>
    <a:srgbClr val="004388"/>
    <a:srgbClr val="E1E3F0"/>
    <a:srgbClr val="000000"/>
    <a:srgbClr val="4E4E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62" autoAdjust="0"/>
    <p:restoredTop sz="69501" autoAdjust="0"/>
  </p:normalViewPr>
  <p:slideViewPr>
    <p:cSldViewPr snapToObjects="1" showGuides="1">
      <p:cViewPr varScale="1">
        <p:scale>
          <a:sx n="42" d="100"/>
          <a:sy n="42" d="100"/>
        </p:scale>
        <p:origin x="1380" y="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Objects="1" showGuides="1">
      <p:cViewPr varScale="1">
        <p:scale>
          <a:sx n="127" d="100"/>
          <a:sy n="127" d="100"/>
        </p:scale>
        <p:origin x="3996" y="114"/>
      </p:cViewPr>
      <p:guideLst>
        <p:guide orient="horz" pos="3224"/>
        <p:guide pos="2237"/>
        <p:guide orient="horz" pos="3127"/>
        <p:guide pos="2142"/>
        <p:guide orient="horz" pos="3225"/>
        <p:guide orient="horz"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344B25E-9BF8-4891-99DD-CAA320D3A641}" type="doc">
      <dgm:prSet loTypeId="urn:microsoft.com/office/officeart/2005/8/layout/b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79D29757-9942-4C7A-AD05-865B31E786B1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Realisierungskonzept</a:t>
          </a:r>
        </a:p>
      </dgm:t>
    </dgm:pt>
    <dgm:pt modelId="{45E8BFB4-6657-4D1F-8CB5-E60FE1C808B3}" type="parTrans" cxnId="{4B35FD33-9C86-4D1C-BE5A-A08C1A5A1F05}">
      <dgm:prSet/>
      <dgm:spPr/>
      <dgm:t>
        <a:bodyPr/>
        <a:lstStyle/>
        <a:p>
          <a:endParaRPr lang="de-CH"/>
        </a:p>
      </dgm:t>
    </dgm:pt>
    <dgm:pt modelId="{DD61FBB5-C0BB-4C64-8EA4-F7F5FA056E9C}" type="sibTrans" cxnId="{4B35FD33-9C86-4D1C-BE5A-A08C1A5A1F05}">
      <dgm:prSet/>
      <dgm:spPr/>
      <dgm:t>
        <a:bodyPr/>
        <a:lstStyle/>
        <a:p>
          <a:endParaRPr lang="de-CH"/>
        </a:p>
      </dgm:t>
    </dgm:pt>
    <dgm:pt modelId="{74E31E06-8AD7-4169-93E4-22FA360ACB9C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Mockups</a:t>
          </a:r>
        </a:p>
      </dgm:t>
    </dgm:pt>
    <dgm:pt modelId="{F33F50B9-0DDC-4AED-90A6-992CA4DE2C36}" type="parTrans" cxnId="{A81156FF-F96F-4C9A-A97F-3FA24C1ACD06}">
      <dgm:prSet/>
      <dgm:spPr/>
      <dgm:t>
        <a:bodyPr/>
        <a:lstStyle/>
        <a:p>
          <a:endParaRPr lang="de-CH"/>
        </a:p>
      </dgm:t>
    </dgm:pt>
    <dgm:pt modelId="{477E1825-0C9B-46D3-AB50-C5095F0C3581}" type="sibTrans" cxnId="{A81156FF-F96F-4C9A-A97F-3FA24C1ACD06}">
      <dgm:prSet/>
      <dgm:spPr/>
      <dgm:t>
        <a:bodyPr/>
        <a:lstStyle/>
        <a:p>
          <a:endParaRPr lang="de-CH"/>
        </a:p>
      </dgm:t>
    </dgm:pt>
    <dgm:pt modelId="{E989B38A-60F5-4410-9A20-C83CA08EE62A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Konzeptionelle</a:t>
          </a:r>
          <a:r>
            <a:rPr lang="de-CH" dirty="0"/>
            <a:t> </a:t>
          </a:r>
          <a:r>
            <a:rPr lang="de-CH" dirty="0">
              <a:solidFill>
                <a:schemeClr val="tx2"/>
              </a:solidFill>
            </a:rPr>
            <a:t>Umsetzung</a:t>
          </a:r>
        </a:p>
      </dgm:t>
    </dgm:pt>
    <dgm:pt modelId="{D656C8D2-D7A0-4322-80DB-2E2C097521D3}" type="parTrans" cxnId="{45311FE3-9F71-4F65-B414-905135030050}">
      <dgm:prSet/>
      <dgm:spPr/>
      <dgm:t>
        <a:bodyPr/>
        <a:lstStyle/>
        <a:p>
          <a:endParaRPr lang="de-CH"/>
        </a:p>
      </dgm:t>
    </dgm:pt>
    <dgm:pt modelId="{0EBB36F8-DA33-4ABD-AB22-FFF192E581DE}" type="sibTrans" cxnId="{45311FE3-9F71-4F65-B414-905135030050}">
      <dgm:prSet/>
      <dgm:spPr/>
      <dgm:t>
        <a:bodyPr/>
        <a:lstStyle/>
        <a:p>
          <a:endParaRPr lang="de-CH"/>
        </a:p>
      </dgm:t>
    </dgm:pt>
    <dgm:pt modelId="{76120D05-DB09-4D39-BA67-5E72AD02CED5}">
      <dgm:prSet phldrT="[Text]"/>
      <dgm:spPr/>
      <dgm:t>
        <a:bodyPr/>
        <a:lstStyle/>
        <a:p>
          <a:r>
            <a:rPr lang="de-CH" dirty="0" err="1">
              <a:solidFill>
                <a:schemeClr val="tx2"/>
              </a:solidFill>
            </a:rPr>
            <a:t>Product</a:t>
          </a:r>
          <a:r>
            <a:rPr lang="de-CH" dirty="0">
              <a:solidFill>
                <a:schemeClr val="tx2"/>
              </a:solidFill>
            </a:rPr>
            <a:t> Backlog Items</a:t>
          </a:r>
        </a:p>
      </dgm:t>
    </dgm:pt>
    <dgm:pt modelId="{6EF2D6F1-7F07-4AEC-BC57-3D72A00E4E0F}" type="parTrans" cxnId="{41398A90-CE2B-4E04-8075-B85267DCC169}">
      <dgm:prSet/>
      <dgm:spPr/>
      <dgm:t>
        <a:bodyPr/>
        <a:lstStyle/>
        <a:p>
          <a:endParaRPr lang="de-CH"/>
        </a:p>
      </dgm:t>
    </dgm:pt>
    <dgm:pt modelId="{27965455-4379-4676-89B5-EB86E9AF55D5}" type="sibTrans" cxnId="{41398A90-CE2B-4E04-8075-B85267DCC169}">
      <dgm:prSet/>
      <dgm:spPr/>
      <dgm:t>
        <a:bodyPr/>
        <a:lstStyle/>
        <a:p>
          <a:endParaRPr lang="de-CH"/>
        </a:p>
      </dgm:t>
    </dgm:pt>
    <dgm:pt modelId="{65077590-3E55-42FC-BE78-81B0829169F7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Testkonzept</a:t>
          </a:r>
        </a:p>
      </dgm:t>
    </dgm:pt>
    <dgm:pt modelId="{96642C36-4FF1-418E-B135-2916EBD0030C}" type="parTrans" cxnId="{B84AE11A-89C8-43D3-8A0E-EA0A6F539288}">
      <dgm:prSet/>
      <dgm:spPr/>
      <dgm:t>
        <a:bodyPr/>
        <a:lstStyle/>
        <a:p>
          <a:endParaRPr lang="de-CH"/>
        </a:p>
      </dgm:t>
    </dgm:pt>
    <dgm:pt modelId="{B904B3EB-6088-414D-AA1A-1A0374FD3F8F}" type="sibTrans" cxnId="{B84AE11A-89C8-43D3-8A0E-EA0A6F539288}">
      <dgm:prSet/>
      <dgm:spPr/>
      <dgm:t>
        <a:bodyPr/>
        <a:lstStyle/>
        <a:p>
          <a:endParaRPr lang="de-CH"/>
        </a:p>
      </dgm:t>
    </dgm:pt>
    <dgm:pt modelId="{FA6B28DF-8A29-49D2-B52E-20EAA05D2DB3}" type="pres">
      <dgm:prSet presAssocID="{2344B25E-9BF8-4891-99DD-CAA320D3A641}" presName="Name0" presStyleCnt="0">
        <dgm:presLayoutVars>
          <dgm:dir/>
          <dgm:resizeHandles val="exact"/>
        </dgm:presLayoutVars>
      </dgm:prSet>
      <dgm:spPr/>
    </dgm:pt>
    <dgm:pt modelId="{6965BCB4-9338-4D55-B7B3-4FEC6A556989}" type="pres">
      <dgm:prSet presAssocID="{79D29757-9942-4C7A-AD05-865B31E786B1}" presName="node" presStyleLbl="node1" presStyleIdx="0" presStyleCnt="5">
        <dgm:presLayoutVars>
          <dgm:bulletEnabled val="1"/>
        </dgm:presLayoutVars>
      </dgm:prSet>
      <dgm:spPr/>
    </dgm:pt>
    <dgm:pt modelId="{CABA185E-5EAB-4752-A013-18175D271C77}" type="pres">
      <dgm:prSet presAssocID="{DD61FBB5-C0BB-4C64-8EA4-F7F5FA056E9C}" presName="sibTrans" presStyleLbl="sibTrans1D1" presStyleIdx="0" presStyleCnt="4"/>
      <dgm:spPr/>
    </dgm:pt>
    <dgm:pt modelId="{67E31333-27E1-40FC-9D2B-2B1D3A113C12}" type="pres">
      <dgm:prSet presAssocID="{DD61FBB5-C0BB-4C64-8EA4-F7F5FA056E9C}" presName="connectorText" presStyleLbl="sibTrans1D1" presStyleIdx="0" presStyleCnt="4"/>
      <dgm:spPr/>
    </dgm:pt>
    <dgm:pt modelId="{E6AED59F-A6F8-425F-AA5C-FCC4A9940081}" type="pres">
      <dgm:prSet presAssocID="{74E31E06-8AD7-4169-93E4-22FA360ACB9C}" presName="node" presStyleLbl="node1" presStyleIdx="1" presStyleCnt="5">
        <dgm:presLayoutVars>
          <dgm:bulletEnabled val="1"/>
        </dgm:presLayoutVars>
      </dgm:prSet>
      <dgm:spPr/>
    </dgm:pt>
    <dgm:pt modelId="{8F3E7725-1781-4BDF-AAAE-643A335E17D6}" type="pres">
      <dgm:prSet presAssocID="{477E1825-0C9B-46D3-AB50-C5095F0C3581}" presName="sibTrans" presStyleLbl="sibTrans1D1" presStyleIdx="1" presStyleCnt="4"/>
      <dgm:spPr/>
    </dgm:pt>
    <dgm:pt modelId="{7E6ACC2D-08A4-4750-ACAD-BE0193D3EFD8}" type="pres">
      <dgm:prSet presAssocID="{477E1825-0C9B-46D3-AB50-C5095F0C3581}" presName="connectorText" presStyleLbl="sibTrans1D1" presStyleIdx="1" presStyleCnt="4"/>
      <dgm:spPr/>
    </dgm:pt>
    <dgm:pt modelId="{3C47FB04-E3DC-41F2-AC6D-873F838E7019}" type="pres">
      <dgm:prSet presAssocID="{E989B38A-60F5-4410-9A20-C83CA08EE62A}" presName="node" presStyleLbl="node1" presStyleIdx="2" presStyleCnt="5">
        <dgm:presLayoutVars>
          <dgm:bulletEnabled val="1"/>
        </dgm:presLayoutVars>
      </dgm:prSet>
      <dgm:spPr/>
    </dgm:pt>
    <dgm:pt modelId="{C3DBF54B-B02A-4275-B2E6-51BDF6FB52A3}" type="pres">
      <dgm:prSet presAssocID="{0EBB36F8-DA33-4ABD-AB22-FFF192E581DE}" presName="sibTrans" presStyleLbl="sibTrans1D1" presStyleIdx="2" presStyleCnt="4"/>
      <dgm:spPr/>
    </dgm:pt>
    <dgm:pt modelId="{89D63F0C-6827-4FB0-BC59-A20CE6CFBAFE}" type="pres">
      <dgm:prSet presAssocID="{0EBB36F8-DA33-4ABD-AB22-FFF192E581DE}" presName="connectorText" presStyleLbl="sibTrans1D1" presStyleIdx="2" presStyleCnt="4"/>
      <dgm:spPr/>
    </dgm:pt>
    <dgm:pt modelId="{C5EA5A52-1E01-4AD9-90E3-1BD46CBAAB1C}" type="pres">
      <dgm:prSet presAssocID="{76120D05-DB09-4D39-BA67-5E72AD02CED5}" presName="node" presStyleLbl="node1" presStyleIdx="3" presStyleCnt="5">
        <dgm:presLayoutVars>
          <dgm:bulletEnabled val="1"/>
        </dgm:presLayoutVars>
      </dgm:prSet>
      <dgm:spPr/>
    </dgm:pt>
    <dgm:pt modelId="{5DA657D5-A3D2-46BE-9E6A-4BAD2872F1FA}" type="pres">
      <dgm:prSet presAssocID="{27965455-4379-4676-89B5-EB86E9AF55D5}" presName="sibTrans" presStyleLbl="sibTrans1D1" presStyleIdx="3" presStyleCnt="4"/>
      <dgm:spPr/>
    </dgm:pt>
    <dgm:pt modelId="{64998633-35B8-44C1-94F0-2AA6312E2F77}" type="pres">
      <dgm:prSet presAssocID="{27965455-4379-4676-89B5-EB86E9AF55D5}" presName="connectorText" presStyleLbl="sibTrans1D1" presStyleIdx="3" presStyleCnt="4"/>
      <dgm:spPr/>
    </dgm:pt>
    <dgm:pt modelId="{A97839FB-36BF-4DE9-8778-F304538007AB}" type="pres">
      <dgm:prSet presAssocID="{65077590-3E55-42FC-BE78-81B0829169F7}" presName="node" presStyleLbl="node1" presStyleIdx="4" presStyleCnt="5">
        <dgm:presLayoutVars>
          <dgm:bulletEnabled val="1"/>
        </dgm:presLayoutVars>
      </dgm:prSet>
      <dgm:spPr/>
    </dgm:pt>
  </dgm:ptLst>
  <dgm:cxnLst>
    <dgm:cxn modelId="{A0448700-7003-41BD-BD44-1C22AB988243}" type="presOf" srcId="{477E1825-0C9B-46D3-AB50-C5095F0C3581}" destId="{8F3E7725-1781-4BDF-AAAE-643A335E17D6}" srcOrd="0" destOrd="0" presId="urn:microsoft.com/office/officeart/2005/8/layout/bProcess3"/>
    <dgm:cxn modelId="{A42FC300-DED3-4911-A581-A8D5CE8ACC2F}" type="presOf" srcId="{2344B25E-9BF8-4891-99DD-CAA320D3A641}" destId="{FA6B28DF-8A29-49D2-B52E-20EAA05D2DB3}" srcOrd="0" destOrd="0" presId="urn:microsoft.com/office/officeart/2005/8/layout/bProcess3"/>
    <dgm:cxn modelId="{DD8E1702-EA47-4ED9-AA83-A92BFFE65AB4}" type="presOf" srcId="{76120D05-DB09-4D39-BA67-5E72AD02CED5}" destId="{C5EA5A52-1E01-4AD9-90E3-1BD46CBAAB1C}" srcOrd="0" destOrd="0" presId="urn:microsoft.com/office/officeart/2005/8/layout/bProcess3"/>
    <dgm:cxn modelId="{A94CF914-F475-4681-BCAB-5253A647A2FE}" type="presOf" srcId="{477E1825-0C9B-46D3-AB50-C5095F0C3581}" destId="{7E6ACC2D-08A4-4750-ACAD-BE0193D3EFD8}" srcOrd="1" destOrd="0" presId="urn:microsoft.com/office/officeart/2005/8/layout/bProcess3"/>
    <dgm:cxn modelId="{B84AE11A-89C8-43D3-8A0E-EA0A6F539288}" srcId="{2344B25E-9BF8-4891-99DD-CAA320D3A641}" destId="{65077590-3E55-42FC-BE78-81B0829169F7}" srcOrd="4" destOrd="0" parTransId="{96642C36-4FF1-418E-B135-2916EBD0030C}" sibTransId="{B904B3EB-6088-414D-AA1A-1A0374FD3F8F}"/>
    <dgm:cxn modelId="{4B35FD33-9C86-4D1C-BE5A-A08C1A5A1F05}" srcId="{2344B25E-9BF8-4891-99DD-CAA320D3A641}" destId="{79D29757-9942-4C7A-AD05-865B31E786B1}" srcOrd="0" destOrd="0" parTransId="{45E8BFB4-6657-4D1F-8CB5-E60FE1C808B3}" sibTransId="{DD61FBB5-C0BB-4C64-8EA4-F7F5FA056E9C}"/>
    <dgm:cxn modelId="{09C07134-B02A-439A-BB99-58346CD83ADB}" type="presOf" srcId="{E989B38A-60F5-4410-9A20-C83CA08EE62A}" destId="{3C47FB04-E3DC-41F2-AC6D-873F838E7019}" srcOrd="0" destOrd="0" presId="urn:microsoft.com/office/officeart/2005/8/layout/bProcess3"/>
    <dgm:cxn modelId="{6593D640-53C8-4A1F-BD29-149585CABC3A}" type="presOf" srcId="{27965455-4379-4676-89B5-EB86E9AF55D5}" destId="{5DA657D5-A3D2-46BE-9E6A-4BAD2872F1FA}" srcOrd="0" destOrd="0" presId="urn:microsoft.com/office/officeart/2005/8/layout/bProcess3"/>
    <dgm:cxn modelId="{55AA2C67-2DFB-4905-AC83-A8EA9C7E7640}" type="presOf" srcId="{74E31E06-8AD7-4169-93E4-22FA360ACB9C}" destId="{E6AED59F-A6F8-425F-AA5C-FCC4A9940081}" srcOrd="0" destOrd="0" presId="urn:microsoft.com/office/officeart/2005/8/layout/bProcess3"/>
    <dgm:cxn modelId="{64ED2B6A-A8FC-4885-AFC5-AA537BC3CBEF}" type="presOf" srcId="{65077590-3E55-42FC-BE78-81B0829169F7}" destId="{A97839FB-36BF-4DE9-8778-F304538007AB}" srcOrd="0" destOrd="0" presId="urn:microsoft.com/office/officeart/2005/8/layout/bProcess3"/>
    <dgm:cxn modelId="{AB877D6C-9B9C-44E3-BC9B-C960E8FE65D3}" type="presOf" srcId="{DD61FBB5-C0BB-4C64-8EA4-F7F5FA056E9C}" destId="{67E31333-27E1-40FC-9D2B-2B1D3A113C12}" srcOrd="1" destOrd="0" presId="urn:microsoft.com/office/officeart/2005/8/layout/bProcess3"/>
    <dgm:cxn modelId="{41398A90-CE2B-4E04-8075-B85267DCC169}" srcId="{2344B25E-9BF8-4891-99DD-CAA320D3A641}" destId="{76120D05-DB09-4D39-BA67-5E72AD02CED5}" srcOrd="3" destOrd="0" parTransId="{6EF2D6F1-7F07-4AEC-BC57-3D72A00E4E0F}" sibTransId="{27965455-4379-4676-89B5-EB86E9AF55D5}"/>
    <dgm:cxn modelId="{12AF2D98-69FA-41F4-9265-0E3CD2CC4979}" type="presOf" srcId="{0EBB36F8-DA33-4ABD-AB22-FFF192E581DE}" destId="{C3DBF54B-B02A-4275-B2E6-51BDF6FB52A3}" srcOrd="0" destOrd="0" presId="urn:microsoft.com/office/officeart/2005/8/layout/bProcess3"/>
    <dgm:cxn modelId="{E0D85EC0-2720-44E7-8AA9-F3995309E90E}" type="presOf" srcId="{0EBB36F8-DA33-4ABD-AB22-FFF192E581DE}" destId="{89D63F0C-6827-4FB0-BC59-A20CE6CFBAFE}" srcOrd="1" destOrd="0" presId="urn:microsoft.com/office/officeart/2005/8/layout/bProcess3"/>
    <dgm:cxn modelId="{DFCAA1C6-ABAB-4E14-B8D6-DA7EAE30B2E9}" type="presOf" srcId="{27965455-4379-4676-89B5-EB86E9AF55D5}" destId="{64998633-35B8-44C1-94F0-2AA6312E2F77}" srcOrd="1" destOrd="0" presId="urn:microsoft.com/office/officeart/2005/8/layout/bProcess3"/>
    <dgm:cxn modelId="{45311FE3-9F71-4F65-B414-905135030050}" srcId="{2344B25E-9BF8-4891-99DD-CAA320D3A641}" destId="{E989B38A-60F5-4410-9A20-C83CA08EE62A}" srcOrd="2" destOrd="0" parTransId="{D656C8D2-D7A0-4322-80DB-2E2C097521D3}" sibTransId="{0EBB36F8-DA33-4ABD-AB22-FFF192E581DE}"/>
    <dgm:cxn modelId="{844126E3-0986-474E-A736-D9E29901E39D}" type="presOf" srcId="{DD61FBB5-C0BB-4C64-8EA4-F7F5FA056E9C}" destId="{CABA185E-5EAB-4752-A013-18175D271C77}" srcOrd="0" destOrd="0" presId="urn:microsoft.com/office/officeart/2005/8/layout/bProcess3"/>
    <dgm:cxn modelId="{F45A29F5-4F70-4970-9AB8-68769067103E}" type="presOf" srcId="{79D29757-9942-4C7A-AD05-865B31E786B1}" destId="{6965BCB4-9338-4D55-B7B3-4FEC6A556989}" srcOrd="0" destOrd="0" presId="urn:microsoft.com/office/officeart/2005/8/layout/bProcess3"/>
    <dgm:cxn modelId="{A81156FF-F96F-4C9A-A97F-3FA24C1ACD06}" srcId="{2344B25E-9BF8-4891-99DD-CAA320D3A641}" destId="{74E31E06-8AD7-4169-93E4-22FA360ACB9C}" srcOrd="1" destOrd="0" parTransId="{F33F50B9-0DDC-4AED-90A6-992CA4DE2C36}" sibTransId="{477E1825-0C9B-46D3-AB50-C5095F0C3581}"/>
    <dgm:cxn modelId="{B52D330C-D2E8-405B-962B-7B8A74471342}" type="presParOf" srcId="{FA6B28DF-8A29-49D2-B52E-20EAA05D2DB3}" destId="{6965BCB4-9338-4D55-B7B3-4FEC6A556989}" srcOrd="0" destOrd="0" presId="urn:microsoft.com/office/officeart/2005/8/layout/bProcess3"/>
    <dgm:cxn modelId="{C695E488-3FAD-4D3A-BE9F-07132D3D23B0}" type="presParOf" srcId="{FA6B28DF-8A29-49D2-B52E-20EAA05D2DB3}" destId="{CABA185E-5EAB-4752-A013-18175D271C77}" srcOrd="1" destOrd="0" presId="urn:microsoft.com/office/officeart/2005/8/layout/bProcess3"/>
    <dgm:cxn modelId="{584EE62C-5AD3-4FC8-B41F-48C6A181C86A}" type="presParOf" srcId="{CABA185E-5EAB-4752-A013-18175D271C77}" destId="{67E31333-27E1-40FC-9D2B-2B1D3A113C12}" srcOrd="0" destOrd="0" presId="urn:microsoft.com/office/officeart/2005/8/layout/bProcess3"/>
    <dgm:cxn modelId="{E1720DD9-1C95-412B-B9A8-E64DC81A0AEB}" type="presParOf" srcId="{FA6B28DF-8A29-49D2-B52E-20EAA05D2DB3}" destId="{E6AED59F-A6F8-425F-AA5C-FCC4A9940081}" srcOrd="2" destOrd="0" presId="urn:microsoft.com/office/officeart/2005/8/layout/bProcess3"/>
    <dgm:cxn modelId="{25E71C05-C53B-4B27-8D71-6546C979A96B}" type="presParOf" srcId="{FA6B28DF-8A29-49D2-B52E-20EAA05D2DB3}" destId="{8F3E7725-1781-4BDF-AAAE-643A335E17D6}" srcOrd="3" destOrd="0" presId="urn:microsoft.com/office/officeart/2005/8/layout/bProcess3"/>
    <dgm:cxn modelId="{1E043FDC-4062-4138-9717-0F8725075ED3}" type="presParOf" srcId="{8F3E7725-1781-4BDF-AAAE-643A335E17D6}" destId="{7E6ACC2D-08A4-4750-ACAD-BE0193D3EFD8}" srcOrd="0" destOrd="0" presId="urn:microsoft.com/office/officeart/2005/8/layout/bProcess3"/>
    <dgm:cxn modelId="{3BA0CEAF-61E6-4572-AC9D-1BA5D3390503}" type="presParOf" srcId="{FA6B28DF-8A29-49D2-B52E-20EAA05D2DB3}" destId="{3C47FB04-E3DC-41F2-AC6D-873F838E7019}" srcOrd="4" destOrd="0" presId="urn:microsoft.com/office/officeart/2005/8/layout/bProcess3"/>
    <dgm:cxn modelId="{BA462230-045F-4C76-8F44-1F1B08FDE1DB}" type="presParOf" srcId="{FA6B28DF-8A29-49D2-B52E-20EAA05D2DB3}" destId="{C3DBF54B-B02A-4275-B2E6-51BDF6FB52A3}" srcOrd="5" destOrd="0" presId="urn:microsoft.com/office/officeart/2005/8/layout/bProcess3"/>
    <dgm:cxn modelId="{5B198F73-70B4-4D66-B437-F7DD1F81BB6C}" type="presParOf" srcId="{C3DBF54B-B02A-4275-B2E6-51BDF6FB52A3}" destId="{89D63F0C-6827-4FB0-BC59-A20CE6CFBAFE}" srcOrd="0" destOrd="0" presId="urn:microsoft.com/office/officeart/2005/8/layout/bProcess3"/>
    <dgm:cxn modelId="{5E86E95F-5849-47D9-B90B-EDA8EF7EA6F2}" type="presParOf" srcId="{FA6B28DF-8A29-49D2-B52E-20EAA05D2DB3}" destId="{C5EA5A52-1E01-4AD9-90E3-1BD46CBAAB1C}" srcOrd="6" destOrd="0" presId="urn:microsoft.com/office/officeart/2005/8/layout/bProcess3"/>
    <dgm:cxn modelId="{18F0875F-C724-452C-9264-60CB1F927785}" type="presParOf" srcId="{FA6B28DF-8A29-49D2-B52E-20EAA05D2DB3}" destId="{5DA657D5-A3D2-46BE-9E6A-4BAD2872F1FA}" srcOrd="7" destOrd="0" presId="urn:microsoft.com/office/officeart/2005/8/layout/bProcess3"/>
    <dgm:cxn modelId="{BC19FB1E-7640-405C-9476-E9938164B622}" type="presParOf" srcId="{5DA657D5-A3D2-46BE-9E6A-4BAD2872F1FA}" destId="{64998633-35B8-44C1-94F0-2AA6312E2F77}" srcOrd="0" destOrd="0" presId="urn:microsoft.com/office/officeart/2005/8/layout/bProcess3"/>
    <dgm:cxn modelId="{5DEF34B2-D51E-4CE3-B5F9-90AF83E999EC}" type="presParOf" srcId="{FA6B28DF-8A29-49D2-B52E-20EAA05D2DB3}" destId="{A97839FB-36BF-4DE9-8778-F304538007AB}" srcOrd="8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1D7E2F2-5A1B-4D90-9FEE-D17AAA3BAE5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C866ACE8-1BD2-4254-9BAD-A99546A3411C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Repository</a:t>
          </a:r>
        </a:p>
      </dgm:t>
    </dgm:pt>
    <dgm:pt modelId="{4568A764-9727-4FFF-BEC3-1E28700428C9}" type="parTrans" cxnId="{0442B868-294A-4C36-8D94-B4E68F2593D2}">
      <dgm:prSet/>
      <dgm:spPr/>
      <dgm:t>
        <a:bodyPr/>
        <a:lstStyle/>
        <a:p>
          <a:endParaRPr lang="de-CH"/>
        </a:p>
      </dgm:t>
    </dgm:pt>
    <dgm:pt modelId="{46FCEFBC-F6A7-4905-9DF1-D7FD97668A33}" type="sibTrans" cxnId="{0442B868-294A-4C36-8D94-B4E68F2593D2}">
      <dgm:prSet/>
      <dgm:spPr/>
      <dgm:t>
        <a:bodyPr/>
        <a:lstStyle/>
        <a:p>
          <a:endParaRPr lang="de-CH"/>
        </a:p>
      </dgm:t>
    </dgm:pt>
    <dgm:pt modelId="{B59E68E5-312D-408B-9D32-964D76874149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Service</a:t>
          </a:r>
        </a:p>
      </dgm:t>
    </dgm:pt>
    <dgm:pt modelId="{70A094A5-9195-4D89-816E-41839C0AA842}" type="parTrans" cxnId="{93354073-B9C3-4E25-9286-F9BEF3AB0DF5}">
      <dgm:prSet/>
      <dgm:spPr/>
      <dgm:t>
        <a:bodyPr/>
        <a:lstStyle/>
        <a:p>
          <a:endParaRPr lang="de-CH"/>
        </a:p>
      </dgm:t>
    </dgm:pt>
    <dgm:pt modelId="{0EC76D5E-1EBB-4A97-AED6-5DC28E790940}" type="sibTrans" cxnId="{93354073-B9C3-4E25-9286-F9BEF3AB0DF5}">
      <dgm:prSet/>
      <dgm:spPr/>
      <dgm:t>
        <a:bodyPr/>
        <a:lstStyle/>
        <a:p>
          <a:endParaRPr lang="de-CH"/>
        </a:p>
      </dgm:t>
    </dgm:pt>
    <dgm:pt modelId="{63D5D45F-7FC2-4997-9A9F-D47FED4198B9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Endpoints</a:t>
          </a:r>
        </a:p>
      </dgm:t>
    </dgm:pt>
    <dgm:pt modelId="{5E0D1930-4BF9-42FF-9B79-59F749CDAA7F}" type="parTrans" cxnId="{64F328D8-0410-4B88-B01D-0FAEE2669149}">
      <dgm:prSet/>
      <dgm:spPr/>
      <dgm:t>
        <a:bodyPr/>
        <a:lstStyle/>
        <a:p>
          <a:endParaRPr lang="de-CH"/>
        </a:p>
      </dgm:t>
    </dgm:pt>
    <dgm:pt modelId="{AC65DA58-B00E-4B1E-9031-7DEEAC0D85DC}" type="sibTrans" cxnId="{64F328D8-0410-4B88-B01D-0FAEE2669149}">
      <dgm:prSet/>
      <dgm:spPr/>
      <dgm:t>
        <a:bodyPr/>
        <a:lstStyle/>
        <a:p>
          <a:endParaRPr lang="de-CH"/>
        </a:p>
      </dgm:t>
    </dgm:pt>
    <dgm:pt modelId="{7CF93E28-42EE-4532-A57A-F57CE199E52D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Packages</a:t>
          </a:r>
        </a:p>
      </dgm:t>
    </dgm:pt>
    <dgm:pt modelId="{D9F8A767-8E02-4980-87B1-B8996F28ACA0}" type="parTrans" cxnId="{564D02E9-547F-4307-9B62-2BFFCB546081}">
      <dgm:prSet/>
      <dgm:spPr/>
      <dgm:t>
        <a:bodyPr/>
        <a:lstStyle/>
        <a:p>
          <a:endParaRPr lang="de-CH"/>
        </a:p>
      </dgm:t>
    </dgm:pt>
    <dgm:pt modelId="{5C6CEB51-A321-4BAA-B6F8-ECAF561B135C}" type="sibTrans" cxnId="{564D02E9-547F-4307-9B62-2BFFCB546081}">
      <dgm:prSet/>
      <dgm:spPr/>
      <dgm:t>
        <a:bodyPr/>
        <a:lstStyle/>
        <a:p>
          <a:endParaRPr lang="de-CH"/>
        </a:p>
      </dgm:t>
    </dgm:pt>
    <dgm:pt modelId="{F8837461-E41B-4879-BD5A-3EB68358CADB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Logging</a:t>
          </a:r>
        </a:p>
      </dgm:t>
    </dgm:pt>
    <dgm:pt modelId="{4DA6802E-2B5E-4F96-9637-1996379D71C6}" type="sibTrans" cxnId="{B3F1EEC2-3203-4226-B07E-F606FED86984}">
      <dgm:prSet/>
      <dgm:spPr/>
      <dgm:t>
        <a:bodyPr/>
        <a:lstStyle/>
        <a:p>
          <a:endParaRPr lang="de-CH"/>
        </a:p>
      </dgm:t>
    </dgm:pt>
    <dgm:pt modelId="{5B26663B-F541-47A7-B733-FA3275C61276}" type="parTrans" cxnId="{B3F1EEC2-3203-4226-B07E-F606FED86984}">
      <dgm:prSet/>
      <dgm:spPr/>
      <dgm:t>
        <a:bodyPr/>
        <a:lstStyle/>
        <a:p>
          <a:endParaRPr lang="de-CH"/>
        </a:p>
      </dgm:t>
    </dgm:pt>
    <dgm:pt modelId="{733C18BD-C4FF-4B07-A3E3-02286DCAB740}" type="pres">
      <dgm:prSet presAssocID="{41D7E2F2-5A1B-4D90-9FEE-D17AAA3BAE55}" presName="diagram" presStyleCnt="0">
        <dgm:presLayoutVars>
          <dgm:dir/>
          <dgm:resizeHandles val="exact"/>
        </dgm:presLayoutVars>
      </dgm:prSet>
      <dgm:spPr/>
    </dgm:pt>
    <dgm:pt modelId="{4C24C07F-3085-40B7-AB15-5D0A589D68DA}" type="pres">
      <dgm:prSet presAssocID="{C866ACE8-1BD2-4254-9BAD-A99546A3411C}" presName="node" presStyleLbl="node1" presStyleIdx="0" presStyleCnt="5">
        <dgm:presLayoutVars>
          <dgm:bulletEnabled val="1"/>
        </dgm:presLayoutVars>
      </dgm:prSet>
      <dgm:spPr/>
    </dgm:pt>
    <dgm:pt modelId="{81E6EF35-DE3B-4E3E-943F-8DD65673B8BF}" type="pres">
      <dgm:prSet presAssocID="{46FCEFBC-F6A7-4905-9DF1-D7FD97668A33}" presName="sibTrans" presStyleCnt="0"/>
      <dgm:spPr/>
    </dgm:pt>
    <dgm:pt modelId="{BD9C2C9A-2598-4254-B645-82FF54051F12}" type="pres">
      <dgm:prSet presAssocID="{B59E68E5-312D-408B-9D32-964D76874149}" presName="node" presStyleLbl="node1" presStyleIdx="1" presStyleCnt="5">
        <dgm:presLayoutVars>
          <dgm:bulletEnabled val="1"/>
        </dgm:presLayoutVars>
      </dgm:prSet>
      <dgm:spPr/>
    </dgm:pt>
    <dgm:pt modelId="{6D625C05-9B59-4D74-BF62-9D3FD04E2026}" type="pres">
      <dgm:prSet presAssocID="{0EC76D5E-1EBB-4A97-AED6-5DC28E790940}" presName="sibTrans" presStyleCnt="0"/>
      <dgm:spPr/>
    </dgm:pt>
    <dgm:pt modelId="{0FD940A2-71A8-4B28-AC50-7AD60FD23548}" type="pres">
      <dgm:prSet presAssocID="{63D5D45F-7FC2-4997-9A9F-D47FED4198B9}" presName="node" presStyleLbl="node1" presStyleIdx="2" presStyleCnt="5">
        <dgm:presLayoutVars>
          <dgm:bulletEnabled val="1"/>
        </dgm:presLayoutVars>
      </dgm:prSet>
      <dgm:spPr/>
    </dgm:pt>
    <dgm:pt modelId="{1B873F98-BA8E-4A38-85A2-C11AC30870ED}" type="pres">
      <dgm:prSet presAssocID="{AC65DA58-B00E-4B1E-9031-7DEEAC0D85DC}" presName="sibTrans" presStyleCnt="0"/>
      <dgm:spPr/>
    </dgm:pt>
    <dgm:pt modelId="{E428DC56-296F-4E27-B717-85A6AC619DEE}" type="pres">
      <dgm:prSet presAssocID="{7CF93E28-42EE-4532-A57A-F57CE199E52D}" presName="node" presStyleLbl="node1" presStyleIdx="3" presStyleCnt="5">
        <dgm:presLayoutVars>
          <dgm:bulletEnabled val="1"/>
        </dgm:presLayoutVars>
      </dgm:prSet>
      <dgm:spPr/>
    </dgm:pt>
    <dgm:pt modelId="{722A943D-A342-4C49-9FF4-8E20CBC0E1F8}" type="pres">
      <dgm:prSet presAssocID="{5C6CEB51-A321-4BAA-B6F8-ECAF561B135C}" presName="sibTrans" presStyleCnt="0"/>
      <dgm:spPr/>
    </dgm:pt>
    <dgm:pt modelId="{6CA38350-2CEE-4745-BAD6-90FE4B45B6F7}" type="pres">
      <dgm:prSet presAssocID="{F8837461-E41B-4879-BD5A-3EB68358CADB}" presName="node" presStyleLbl="node1" presStyleIdx="4" presStyleCnt="5">
        <dgm:presLayoutVars>
          <dgm:bulletEnabled val="1"/>
        </dgm:presLayoutVars>
      </dgm:prSet>
      <dgm:spPr/>
    </dgm:pt>
  </dgm:ptLst>
  <dgm:cxnLst>
    <dgm:cxn modelId="{B17CB93F-5AA2-4DC3-82A8-043A4DA99F16}" type="presOf" srcId="{C866ACE8-1BD2-4254-9BAD-A99546A3411C}" destId="{4C24C07F-3085-40B7-AB15-5D0A589D68DA}" srcOrd="0" destOrd="0" presId="urn:microsoft.com/office/officeart/2005/8/layout/default"/>
    <dgm:cxn modelId="{0442B868-294A-4C36-8D94-B4E68F2593D2}" srcId="{41D7E2F2-5A1B-4D90-9FEE-D17AAA3BAE55}" destId="{C866ACE8-1BD2-4254-9BAD-A99546A3411C}" srcOrd="0" destOrd="0" parTransId="{4568A764-9727-4FFF-BEC3-1E28700428C9}" sibTransId="{46FCEFBC-F6A7-4905-9DF1-D7FD97668A33}"/>
    <dgm:cxn modelId="{93354073-B9C3-4E25-9286-F9BEF3AB0DF5}" srcId="{41D7E2F2-5A1B-4D90-9FEE-D17AAA3BAE55}" destId="{B59E68E5-312D-408B-9D32-964D76874149}" srcOrd="1" destOrd="0" parTransId="{70A094A5-9195-4D89-816E-41839C0AA842}" sibTransId="{0EC76D5E-1EBB-4A97-AED6-5DC28E790940}"/>
    <dgm:cxn modelId="{FC20628A-FC60-477C-A4CA-05DE6131D30F}" type="presOf" srcId="{B59E68E5-312D-408B-9D32-964D76874149}" destId="{BD9C2C9A-2598-4254-B645-82FF54051F12}" srcOrd="0" destOrd="0" presId="urn:microsoft.com/office/officeart/2005/8/layout/default"/>
    <dgm:cxn modelId="{0530969F-A44B-48F8-B70A-C64D260BB9CB}" type="presOf" srcId="{7CF93E28-42EE-4532-A57A-F57CE199E52D}" destId="{E428DC56-296F-4E27-B717-85A6AC619DEE}" srcOrd="0" destOrd="0" presId="urn:microsoft.com/office/officeart/2005/8/layout/default"/>
    <dgm:cxn modelId="{B3F1EEC2-3203-4226-B07E-F606FED86984}" srcId="{41D7E2F2-5A1B-4D90-9FEE-D17AAA3BAE55}" destId="{F8837461-E41B-4879-BD5A-3EB68358CADB}" srcOrd="4" destOrd="0" parTransId="{5B26663B-F541-47A7-B733-FA3275C61276}" sibTransId="{4DA6802E-2B5E-4F96-9637-1996379D71C6}"/>
    <dgm:cxn modelId="{78E427C7-DE92-4315-9753-3DD7B3D5CB9A}" type="presOf" srcId="{F8837461-E41B-4879-BD5A-3EB68358CADB}" destId="{6CA38350-2CEE-4745-BAD6-90FE4B45B6F7}" srcOrd="0" destOrd="0" presId="urn:microsoft.com/office/officeart/2005/8/layout/default"/>
    <dgm:cxn modelId="{EBE592D5-6B95-45C7-BDC1-3192B4189929}" type="presOf" srcId="{63D5D45F-7FC2-4997-9A9F-D47FED4198B9}" destId="{0FD940A2-71A8-4B28-AC50-7AD60FD23548}" srcOrd="0" destOrd="0" presId="urn:microsoft.com/office/officeart/2005/8/layout/default"/>
    <dgm:cxn modelId="{64F328D8-0410-4B88-B01D-0FAEE2669149}" srcId="{41D7E2F2-5A1B-4D90-9FEE-D17AAA3BAE55}" destId="{63D5D45F-7FC2-4997-9A9F-D47FED4198B9}" srcOrd="2" destOrd="0" parTransId="{5E0D1930-4BF9-42FF-9B79-59F749CDAA7F}" sibTransId="{AC65DA58-B00E-4B1E-9031-7DEEAC0D85DC}"/>
    <dgm:cxn modelId="{564D02E9-547F-4307-9B62-2BFFCB546081}" srcId="{41D7E2F2-5A1B-4D90-9FEE-D17AAA3BAE55}" destId="{7CF93E28-42EE-4532-A57A-F57CE199E52D}" srcOrd="3" destOrd="0" parTransId="{D9F8A767-8E02-4980-87B1-B8996F28ACA0}" sibTransId="{5C6CEB51-A321-4BAA-B6F8-ECAF561B135C}"/>
    <dgm:cxn modelId="{7CD50BF8-ECD0-44DF-BA21-DA1F6319175D}" type="presOf" srcId="{41D7E2F2-5A1B-4D90-9FEE-D17AAA3BAE55}" destId="{733C18BD-C4FF-4B07-A3E3-02286DCAB740}" srcOrd="0" destOrd="0" presId="urn:microsoft.com/office/officeart/2005/8/layout/default"/>
    <dgm:cxn modelId="{FB374BEE-3949-433B-BB14-771D8DDD280A}" type="presParOf" srcId="{733C18BD-C4FF-4B07-A3E3-02286DCAB740}" destId="{4C24C07F-3085-40B7-AB15-5D0A589D68DA}" srcOrd="0" destOrd="0" presId="urn:microsoft.com/office/officeart/2005/8/layout/default"/>
    <dgm:cxn modelId="{D2681EE4-D582-4F92-813F-42F488E680F8}" type="presParOf" srcId="{733C18BD-C4FF-4B07-A3E3-02286DCAB740}" destId="{81E6EF35-DE3B-4E3E-943F-8DD65673B8BF}" srcOrd="1" destOrd="0" presId="urn:microsoft.com/office/officeart/2005/8/layout/default"/>
    <dgm:cxn modelId="{83D5A44D-4951-43C9-8900-46F0425ED1CE}" type="presParOf" srcId="{733C18BD-C4FF-4B07-A3E3-02286DCAB740}" destId="{BD9C2C9A-2598-4254-B645-82FF54051F12}" srcOrd="2" destOrd="0" presId="urn:microsoft.com/office/officeart/2005/8/layout/default"/>
    <dgm:cxn modelId="{4E5EF5B3-090E-4D29-8976-3B9C387EF0CB}" type="presParOf" srcId="{733C18BD-C4FF-4B07-A3E3-02286DCAB740}" destId="{6D625C05-9B59-4D74-BF62-9D3FD04E2026}" srcOrd="3" destOrd="0" presId="urn:microsoft.com/office/officeart/2005/8/layout/default"/>
    <dgm:cxn modelId="{AC5CD923-F604-459A-B8A4-98CACA2BDFDE}" type="presParOf" srcId="{733C18BD-C4FF-4B07-A3E3-02286DCAB740}" destId="{0FD940A2-71A8-4B28-AC50-7AD60FD23548}" srcOrd="4" destOrd="0" presId="urn:microsoft.com/office/officeart/2005/8/layout/default"/>
    <dgm:cxn modelId="{A930E40E-B385-48AF-A2FA-E590B8E6D4A8}" type="presParOf" srcId="{733C18BD-C4FF-4B07-A3E3-02286DCAB740}" destId="{1B873F98-BA8E-4A38-85A2-C11AC30870ED}" srcOrd="5" destOrd="0" presId="urn:microsoft.com/office/officeart/2005/8/layout/default"/>
    <dgm:cxn modelId="{382D661E-5AD2-4C3B-8AF5-902A0AF7A779}" type="presParOf" srcId="{733C18BD-C4FF-4B07-A3E3-02286DCAB740}" destId="{E428DC56-296F-4E27-B717-85A6AC619DEE}" srcOrd="6" destOrd="0" presId="urn:microsoft.com/office/officeart/2005/8/layout/default"/>
    <dgm:cxn modelId="{6E0BDB0D-597C-43CF-A57D-6389A4DD2986}" type="presParOf" srcId="{733C18BD-C4FF-4B07-A3E3-02286DCAB740}" destId="{722A943D-A342-4C49-9FF4-8E20CBC0E1F8}" srcOrd="7" destOrd="0" presId="urn:microsoft.com/office/officeart/2005/8/layout/default"/>
    <dgm:cxn modelId="{03FA0647-28E8-4114-A6A4-BFCBDE5F72F9}" type="presParOf" srcId="{733C18BD-C4FF-4B07-A3E3-02286DCAB740}" destId="{6CA38350-2CEE-4745-BAD6-90FE4B45B6F7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1D7E2F2-5A1B-4D90-9FEE-D17AAA3BAE5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C866ACE8-1BD2-4254-9BAD-A99546A3411C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neues Modul</a:t>
          </a:r>
        </a:p>
      </dgm:t>
    </dgm:pt>
    <dgm:pt modelId="{4568A764-9727-4FFF-BEC3-1E28700428C9}" type="parTrans" cxnId="{0442B868-294A-4C36-8D94-B4E68F2593D2}">
      <dgm:prSet/>
      <dgm:spPr/>
      <dgm:t>
        <a:bodyPr/>
        <a:lstStyle/>
        <a:p>
          <a:endParaRPr lang="de-CH"/>
        </a:p>
      </dgm:t>
    </dgm:pt>
    <dgm:pt modelId="{46FCEFBC-F6A7-4905-9DF1-D7FD97668A33}" type="sibTrans" cxnId="{0442B868-294A-4C36-8D94-B4E68F2593D2}">
      <dgm:prSet/>
      <dgm:spPr/>
      <dgm:t>
        <a:bodyPr/>
        <a:lstStyle/>
        <a:p>
          <a:endParaRPr lang="de-CH"/>
        </a:p>
      </dgm:t>
    </dgm:pt>
    <dgm:pt modelId="{B59E68E5-312D-408B-9D32-964D76874149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Service</a:t>
          </a:r>
        </a:p>
      </dgm:t>
    </dgm:pt>
    <dgm:pt modelId="{70A094A5-9195-4D89-816E-41839C0AA842}" type="parTrans" cxnId="{93354073-B9C3-4E25-9286-F9BEF3AB0DF5}">
      <dgm:prSet/>
      <dgm:spPr/>
      <dgm:t>
        <a:bodyPr/>
        <a:lstStyle/>
        <a:p>
          <a:endParaRPr lang="de-CH"/>
        </a:p>
      </dgm:t>
    </dgm:pt>
    <dgm:pt modelId="{0EC76D5E-1EBB-4A97-AED6-5DC28E790940}" type="sibTrans" cxnId="{93354073-B9C3-4E25-9286-F9BEF3AB0DF5}">
      <dgm:prSet/>
      <dgm:spPr/>
      <dgm:t>
        <a:bodyPr/>
        <a:lstStyle/>
        <a:p>
          <a:endParaRPr lang="de-CH"/>
        </a:p>
      </dgm:t>
    </dgm:pt>
    <dgm:pt modelId="{63D5D45F-7FC2-4997-9A9F-D47FED4198B9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State</a:t>
          </a:r>
        </a:p>
      </dgm:t>
    </dgm:pt>
    <dgm:pt modelId="{5E0D1930-4BF9-42FF-9B79-59F749CDAA7F}" type="parTrans" cxnId="{64F328D8-0410-4B88-B01D-0FAEE2669149}">
      <dgm:prSet/>
      <dgm:spPr/>
      <dgm:t>
        <a:bodyPr/>
        <a:lstStyle/>
        <a:p>
          <a:endParaRPr lang="de-CH"/>
        </a:p>
      </dgm:t>
    </dgm:pt>
    <dgm:pt modelId="{AC65DA58-B00E-4B1E-9031-7DEEAC0D85DC}" type="sibTrans" cxnId="{64F328D8-0410-4B88-B01D-0FAEE2669149}">
      <dgm:prSet/>
      <dgm:spPr/>
      <dgm:t>
        <a:bodyPr/>
        <a:lstStyle/>
        <a:p>
          <a:endParaRPr lang="de-CH"/>
        </a:p>
      </dgm:t>
    </dgm:pt>
    <dgm:pt modelId="{7CF93E28-42EE-4532-A57A-F57CE199E52D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Components</a:t>
          </a:r>
        </a:p>
      </dgm:t>
    </dgm:pt>
    <dgm:pt modelId="{D9F8A767-8E02-4980-87B1-B8996F28ACA0}" type="parTrans" cxnId="{564D02E9-547F-4307-9B62-2BFFCB546081}">
      <dgm:prSet/>
      <dgm:spPr/>
      <dgm:t>
        <a:bodyPr/>
        <a:lstStyle/>
        <a:p>
          <a:endParaRPr lang="de-CH"/>
        </a:p>
      </dgm:t>
    </dgm:pt>
    <dgm:pt modelId="{5C6CEB51-A321-4BAA-B6F8-ECAF561B135C}" type="sibTrans" cxnId="{564D02E9-547F-4307-9B62-2BFFCB546081}">
      <dgm:prSet/>
      <dgm:spPr/>
      <dgm:t>
        <a:bodyPr/>
        <a:lstStyle/>
        <a:p>
          <a:endParaRPr lang="de-CH"/>
        </a:p>
      </dgm:t>
    </dgm:pt>
    <dgm:pt modelId="{F8837461-E41B-4879-BD5A-3EB68358CADB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ngx-quill</a:t>
          </a:r>
        </a:p>
      </dgm:t>
    </dgm:pt>
    <dgm:pt modelId="{4DA6802E-2B5E-4F96-9637-1996379D71C6}" type="sibTrans" cxnId="{B3F1EEC2-3203-4226-B07E-F606FED86984}">
      <dgm:prSet/>
      <dgm:spPr/>
      <dgm:t>
        <a:bodyPr/>
        <a:lstStyle/>
        <a:p>
          <a:endParaRPr lang="de-CH"/>
        </a:p>
      </dgm:t>
    </dgm:pt>
    <dgm:pt modelId="{5B26663B-F541-47A7-B733-FA3275C61276}" type="parTrans" cxnId="{B3F1EEC2-3203-4226-B07E-F606FED86984}">
      <dgm:prSet/>
      <dgm:spPr/>
      <dgm:t>
        <a:bodyPr/>
        <a:lstStyle/>
        <a:p>
          <a:endParaRPr lang="de-CH"/>
        </a:p>
      </dgm:t>
    </dgm:pt>
    <dgm:pt modelId="{A0510B62-B93D-4E67-9E0D-89304264BCD0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Routing</a:t>
          </a:r>
        </a:p>
      </dgm:t>
    </dgm:pt>
    <dgm:pt modelId="{E6697E51-7132-4FA5-85E2-341711F438DE}" type="parTrans" cxnId="{235BED96-D63A-463B-8E4F-27990A43C169}">
      <dgm:prSet/>
      <dgm:spPr/>
      <dgm:t>
        <a:bodyPr/>
        <a:lstStyle/>
        <a:p>
          <a:endParaRPr lang="de-CH"/>
        </a:p>
      </dgm:t>
    </dgm:pt>
    <dgm:pt modelId="{D0EA5F08-AFE1-423F-B7A6-5E78FD0B62CB}" type="sibTrans" cxnId="{235BED96-D63A-463B-8E4F-27990A43C169}">
      <dgm:prSet/>
      <dgm:spPr/>
      <dgm:t>
        <a:bodyPr/>
        <a:lstStyle/>
        <a:p>
          <a:endParaRPr lang="de-CH"/>
        </a:p>
      </dgm:t>
    </dgm:pt>
    <dgm:pt modelId="{2C561B52-7650-401B-86AA-C09A061E5D0B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Validierung &amp; Rückmeldung</a:t>
          </a:r>
        </a:p>
      </dgm:t>
    </dgm:pt>
    <dgm:pt modelId="{EA9D8612-89F2-4F98-A647-8C090C999C19}" type="parTrans" cxnId="{1EDA3789-9589-4B99-9F98-81C978BC4E8C}">
      <dgm:prSet/>
      <dgm:spPr/>
      <dgm:t>
        <a:bodyPr/>
        <a:lstStyle/>
        <a:p>
          <a:endParaRPr lang="de-CH"/>
        </a:p>
      </dgm:t>
    </dgm:pt>
    <dgm:pt modelId="{2B30C7F5-5851-4245-BB61-32799B0E2AAF}" type="sibTrans" cxnId="{1EDA3789-9589-4B99-9F98-81C978BC4E8C}">
      <dgm:prSet/>
      <dgm:spPr/>
      <dgm:t>
        <a:bodyPr/>
        <a:lstStyle/>
        <a:p>
          <a:endParaRPr lang="de-CH"/>
        </a:p>
      </dgm:t>
    </dgm:pt>
    <dgm:pt modelId="{B549C8A2-EAF3-4003-B0B4-2DCE7A272CD2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Lokalisierung</a:t>
          </a:r>
        </a:p>
      </dgm:t>
    </dgm:pt>
    <dgm:pt modelId="{4FFC7474-20ED-4F73-AAFA-CFB83FEB5165}" type="parTrans" cxnId="{27B3273E-ADA9-40B0-B949-957B2EEDFCC0}">
      <dgm:prSet/>
      <dgm:spPr/>
      <dgm:t>
        <a:bodyPr/>
        <a:lstStyle/>
        <a:p>
          <a:endParaRPr lang="de-CH"/>
        </a:p>
      </dgm:t>
    </dgm:pt>
    <dgm:pt modelId="{6BE9F3DD-8BDF-4343-BD3B-4632C2E5D7E2}" type="sibTrans" cxnId="{27B3273E-ADA9-40B0-B949-957B2EEDFCC0}">
      <dgm:prSet/>
      <dgm:spPr/>
      <dgm:t>
        <a:bodyPr/>
        <a:lstStyle/>
        <a:p>
          <a:endParaRPr lang="de-CH"/>
        </a:p>
      </dgm:t>
    </dgm:pt>
    <dgm:pt modelId="{930470B4-E4B6-48F6-BA8F-B41A411AD6F3}">
      <dgm:prSet phldrT="[Text]"/>
      <dgm:spPr/>
      <dgm:t>
        <a:bodyPr/>
        <a:lstStyle/>
        <a:p>
          <a:r>
            <a:rPr lang="de-CH" dirty="0">
              <a:solidFill>
                <a:schemeClr val="tx2"/>
              </a:solidFill>
            </a:rPr>
            <a:t>Suchfunktion</a:t>
          </a:r>
        </a:p>
      </dgm:t>
    </dgm:pt>
    <dgm:pt modelId="{B47A84D0-9EDB-4628-BAF3-9611C28E676B}" type="parTrans" cxnId="{6A253767-1385-41E6-B8D8-93ADA69B001D}">
      <dgm:prSet/>
      <dgm:spPr/>
      <dgm:t>
        <a:bodyPr/>
        <a:lstStyle/>
        <a:p>
          <a:endParaRPr lang="de-CH"/>
        </a:p>
      </dgm:t>
    </dgm:pt>
    <dgm:pt modelId="{76BABD81-7DC6-4119-8B09-802EABB145A4}" type="sibTrans" cxnId="{6A253767-1385-41E6-B8D8-93ADA69B001D}">
      <dgm:prSet/>
      <dgm:spPr/>
      <dgm:t>
        <a:bodyPr/>
        <a:lstStyle/>
        <a:p>
          <a:endParaRPr lang="de-CH"/>
        </a:p>
      </dgm:t>
    </dgm:pt>
    <dgm:pt modelId="{733C18BD-C4FF-4B07-A3E3-02286DCAB740}" type="pres">
      <dgm:prSet presAssocID="{41D7E2F2-5A1B-4D90-9FEE-D17AAA3BAE55}" presName="diagram" presStyleCnt="0">
        <dgm:presLayoutVars>
          <dgm:dir/>
          <dgm:resizeHandles val="exact"/>
        </dgm:presLayoutVars>
      </dgm:prSet>
      <dgm:spPr/>
    </dgm:pt>
    <dgm:pt modelId="{4C24C07F-3085-40B7-AB15-5D0A589D68DA}" type="pres">
      <dgm:prSet presAssocID="{C866ACE8-1BD2-4254-9BAD-A99546A3411C}" presName="node" presStyleLbl="node1" presStyleIdx="0" presStyleCnt="9">
        <dgm:presLayoutVars>
          <dgm:bulletEnabled val="1"/>
        </dgm:presLayoutVars>
      </dgm:prSet>
      <dgm:spPr/>
    </dgm:pt>
    <dgm:pt modelId="{81E6EF35-DE3B-4E3E-943F-8DD65673B8BF}" type="pres">
      <dgm:prSet presAssocID="{46FCEFBC-F6A7-4905-9DF1-D7FD97668A33}" presName="sibTrans" presStyleCnt="0"/>
      <dgm:spPr/>
    </dgm:pt>
    <dgm:pt modelId="{BD9C2C9A-2598-4254-B645-82FF54051F12}" type="pres">
      <dgm:prSet presAssocID="{B59E68E5-312D-408B-9D32-964D76874149}" presName="node" presStyleLbl="node1" presStyleIdx="1" presStyleCnt="9">
        <dgm:presLayoutVars>
          <dgm:bulletEnabled val="1"/>
        </dgm:presLayoutVars>
      </dgm:prSet>
      <dgm:spPr/>
    </dgm:pt>
    <dgm:pt modelId="{6D625C05-9B59-4D74-BF62-9D3FD04E2026}" type="pres">
      <dgm:prSet presAssocID="{0EC76D5E-1EBB-4A97-AED6-5DC28E790940}" presName="sibTrans" presStyleCnt="0"/>
      <dgm:spPr/>
    </dgm:pt>
    <dgm:pt modelId="{0FD940A2-71A8-4B28-AC50-7AD60FD23548}" type="pres">
      <dgm:prSet presAssocID="{63D5D45F-7FC2-4997-9A9F-D47FED4198B9}" presName="node" presStyleLbl="node1" presStyleIdx="2" presStyleCnt="9">
        <dgm:presLayoutVars>
          <dgm:bulletEnabled val="1"/>
        </dgm:presLayoutVars>
      </dgm:prSet>
      <dgm:spPr/>
    </dgm:pt>
    <dgm:pt modelId="{1B873F98-BA8E-4A38-85A2-C11AC30870ED}" type="pres">
      <dgm:prSet presAssocID="{AC65DA58-B00E-4B1E-9031-7DEEAC0D85DC}" presName="sibTrans" presStyleCnt="0"/>
      <dgm:spPr/>
    </dgm:pt>
    <dgm:pt modelId="{E428DC56-296F-4E27-B717-85A6AC619DEE}" type="pres">
      <dgm:prSet presAssocID="{7CF93E28-42EE-4532-A57A-F57CE199E52D}" presName="node" presStyleLbl="node1" presStyleIdx="3" presStyleCnt="9">
        <dgm:presLayoutVars>
          <dgm:bulletEnabled val="1"/>
        </dgm:presLayoutVars>
      </dgm:prSet>
      <dgm:spPr/>
    </dgm:pt>
    <dgm:pt modelId="{722A943D-A342-4C49-9FF4-8E20CBC0E1F8}" type="pres">
      <dgm:prSet presAssocID="{5C6CEB51-A321-4BAA-B6F8-ECAF561B135C}" presName="sibTrans" presStyleCnt="0"/>
      <dgm:spPr/>
    </dgm:pt>
    <dgm:pt modelId="{6CA38350-2CEE-4745-BAD6-90FE4B45B6F7}" type="pres">
      <dgm:prSet presAssocID="{F8837461-E41B-4879-BD5A-3EB68358CADB}" presName="node" presStyleLbl="node1" presStyleIdx="4" presStyleCnt="9">
        <dgm:presLayoutVars>
          <dgm:bulletEnabled val="1"/>
        </dgm:presLayoutVars>
      </dgm:prSet>
      <dgm:spPr/>
    </dgm:pt>
    <dgm:pt modelId="{CDB090E7-A55D-49D4-893B-51EBBF76B987}" type="pres">
      <dgm:prSet presAssocID="{4DA6802E-2B5E-4F96-9637-1996379D71C6}" presName="sibTrans" presStyleCnt="0"/>
      <dgm:spPr/>
    </dgm:pt>
    <dgm:pt modelId="{BFACF93C-C218-4434-B5AC-A1DC9C287369}" type="pres">
      <dgm:prSet presAssocID="{A0510B62-B93D-4E67-9E0D-89304264BCD0}" presName="node" presStyleLbl="node1" presStyleIdx="5" presStyleCnt="9">
        <dgm:presLayoutVars>
          <dgm:bulletEnabled val="1"/>
        </dgm:presLayoutVars>
      </dgm:prSet>
      <dgm:spPr/>
    </dgm:pt>
    <dgm:pt modelId="{F41CE5B2-5BC0-4BE2-885E-2703121553F5}" type="pres">
      <dgm:prSet presAssocID="{D0EA5F08-AFE1-423F-B7A6-5E78FD0B62CB}" presName="sibTrans" presStyleCnt="0"/>
      <dgm:spPr/>
    </dgm:pt>
    <dgm:pt modelId="{6DD28D35-CF9F-4AC3-A36C-29FBD2423A43}" type="pres">
      <dgm:prSet presAssocID="{2C561B52-7650-401B-86AA-C09A061E5D0B}" presName="node" presStyleLbl="node1" presStyleIdx="6" presStyleCnt="9">
        <dgm:presLayoutVars>
          <dgm:bulletEnabled val="1"/>
        </dgm:presLayoutVars>
      </dgm:prSet>
      <dgm:spPr/>
    </dgm:pt>
    <dgm:pt modelId="{15815959-A6AC-4F08-B191-5310247F5172}" type="pres">
      <dgm:prSet presAssocID="{2B30C7F5-5851-4245-BB61-32799B0E2AAF}" presName="sibTrans" presStyleCnt="0"/>
      <dgm:spPr/>
    </dgm:pt>
    <dgm:pt modelId="{87F9B72D-CFF0-4523-A03C-9917FE72E43F}" type="pres">
      <dgm:prSet presAssocID="{B549C8A2-EAF3-4003-B0B4-2DCE7A272CD2}" presName="node" presStyleLbl="node1" presStyleIdx="7" presStyleCnt="9">
        <dgm:presLayoutVars>
          <dgm:bulletEnabled val="1"/>
        </dgm:presLayoutVars>
      </dgm:prSet>
      <dgm:spPr/>
    </dgm:pt>
    <dgm:pt modelId="{47484280-9FC5-43A8-80A5-BB63E92C1ABB}" type="pres">
      <dgm:prSet presAssocID="{6BE9F3DD-8BDF-4343-BD3B-4632C2E5D7E2}" presName="sibTrans" presStyleCnt="0"/>
      <dgm:spPr/>
    </dgm:pt>
    <dgm:pt modelId="{0097D303-1836-453A-BCD8-E76EFB4BEC49}" type="pres">
      <dgm:prSet presAssocID="{930470B4-E4B6-48F6-BA8F-B41A411AD6F3}" presName="node" presStyleLbl="node1" presStyleIdx="8" presStyleCnt="9">
        <dgm:presLayoutVars>
          <dgm:bulletEnabled val="1"/>
        </dgm:presLayoutVars>
      </dgm:prSet>
      <dgm:spPr/>
    </dgm:pt>
  </dgm:ptLst>
  <dgm:cxnLst>
    <dgm:cxn modelId="{F8888F0C-2433-4E14-9DCD-0A28EAE3CA4C}" type="presOf" srcId="{930470B4-E4B6-48F6-BA8F-B41A411AD6F3}" destId="{0097D303-1836-453A-BCD8-E76EFB4BEC49}" srcOrd="0" destOrd="0" presId="urn:microsoft.com/office/officeart/2005/8/layout/default"/>
    <dgm:cxn modelId="{8974DC38-0582-485D-AD1F-31F0AC8EDE61}" type="presOf" srcId="{2C561B52-7650-401B-86AA-C09A061E5D0B}" destId="{6DD28D35-CF9F-4AC3-A36C-29FBD2423A43}" srcOrd="0" destOrd="0" presId="urn:microsoft.com/office/officeart/2005/8/layout/default"/>
    <dgm:cxn modelId="{27B3273E-ADA9-40B0-B949-957B2EEDFCC0}" srcId="{41D7E2F2-5A1B-4D90-9FEE-D17AAA3BAE55}" destId="{B549C8A2-EAF3-4003-B0B4-2DCE7A272CD2}" srcOrd="7" destOrd="0" parTransId="{4FFC7474-20ED-4F73-AAFA-CFB83FEB5165}" sibTransId="{6BE9F3DD-8BDF-4343-BD3B-4632C2E5D7E2}"/>
    <dgm:cxn modelId="{B17CB93F-5AA2-4DC3-82A8-043A4DA99F16}" type="presOf" srcId="{C866ACE8-1BD2-4254-9BAD-A99546A3411C}" destId="{4C24C07F-3085-40B7-AB15-5D0A589D68DA}" srcOrd="0" destOrd="0" presId="urn:microsoft.com/office/officeart/2005/8/layout/default"/>
    <dgm:cxn modelId="{6A253767-1385-41E6-B8D8-93ADA69B001D}" srcId="{41D7E2F2-5A1B-4D90-9FEE-D17AAA3BAE55}" destId="{930470B4-E4B6-48F6-BA8F-B41A411AD6F3}" srcOrd="8" destOrd="0" parTransId="{B47A84D0-9EDB-4628-BAF3-9611C28E676B}" sibTransId="{76BABD81-7DC6-4119-8B09-802EABB145A4}"/>
    <dgm:cxn modelId="{0442B868-294A-4C36-8D94-B4E68F2593D2}" srcId="{41D7E2F2-5A1B-4D90-9FEE-D17AAA3BAE55}" destId="{C866ACE8-1BD2-4254-9BAD-A99546A3411C}" srcOrd="0" destOrd="0" parTransId="{4568A764-9727-4FFF-BEC3-1E28700428C9}" sibTransId="{46FCEFBC-F6A7-4905-9DF1-D7FD97668A33}"/>
    <dgm:cxn modelId="{93354073-B9C3-4E25-9286-F9BEF3AB0DF5}" srcId="{41D7E2F2-5A1B-4D90-9FEE-D17AAA3BAE55}" destId="{B59E68E5-312D-408B-9D32-964D76874149}" srcOrd="1" destOrd="0" parTransId="{70A094A5-9195-4D89-816E-41839C0AA842}" sibTransId="{0EC76D5E-1EBB-4A97-AED6-5DC28E790940}"/>
    <dgm:cxn modelId="{1EDA3789-9589-4B99-9F98-81C978BC4E8C}" srcId="{41D7E2F2-5A1B-4D90-9FEE-D17AAA3BAE55}" destId="{2C561B52-7650-401B-86AA-C09A061E5D0B}" srcOrd="6" destOrd="0" parTransId="{EA9D8612-89F2-4F98-A647-8C090C999C19}" sibTransId="{2B30C7F5-5851-4245-BB61-32799B0E2AAF}"/>
    <dgm:cxn modelId="{FC20628A-FC60-477C-A4CA-05DE6131D30F}" type="presOf" srcId="{B59E68E5-312D-408B-9D32-964D76874149}" destId="{BD9C2C9A-2598-4254-B645-82FF54051F12}" srcOrd="0" destOrd="0" presId="urn:microsoft.com/office/officeart/2005/8/layout/default"/>
    <dgm:cxn modelId="{3AD70292-8EB5-4010-840A-49895115BC78}" type="presOf" srcId="{B549C8A2-EAF3-4003-B0B4-2DCE7A272CD2}" destId="{87F9B72D-CFF0-4523-A03C-9917FE72E43F}" srcOrd="0" destOrd="0" presId="urn:microsoft.com/office/officeart/2005/8/layout/default"/>
    <dgm:cxn modelId="{235BED96-D63A-463B-8E4F-27990A43C169}" srcId="{41D7E2F2-5A1B-4D90-9FEE-D17AAA3BAE55}" destId="{A0510B62-B93D-4E67-9E0D-89304264BCD0}" srcOrd="5" destOrd="0" parTransId="{E6697E51-7132-4FA5-85E2-341711F438DE}" sibTransId="{D0EA5F08-AFE1-423F-B7A6-5E78FD0B62CB}"/>
    <dgm:cxn modelId="{0530969F-A44B-48F8-B70A-C64D260BB9CB}" type="presOf" srcId="{7CF93E28-42EE-4532-A57A-F57CE199E52D}" destId="{E428DC56-296F-4E27-B717-85A6AC619DEE}" srcOrd="0" destOrd="0" presId="urn:microsoft.com/office/officeart/2005/8/layout/default"/>
    <dgm:cxn modelId="{B3F1EEC2-3203-4226-B07E-F606FED86984}" srcId="{41D7E2F2-5A1B-4D90-9FEE-D17AAA3BAE55}" destId="{F8837461-E41B-4879-BD5A-3EB68358CADB}" srcOrd="4" destOrd="0" parTransId="{5B26663B-F541-47A7-B733-FA3275C61276}" sibTransId="{4DA6802E-2B5E-4F96-9637-1996379D71C6}"/>
    <dgm:cxn modelId="{78E427C7-DE92-4315-9753-3DD7B3D5CB9A}" type="presOf" srcId="{F8837461-E41B-4879-BD5A-3EB68358CADB}" destId="{6CA38350-2CEE-4745-BAD6-90FE4B45B6F7}" srcOrd="0" destOrd="0" presId="urn:microsoft.com/office/officeart/2005/8/layout/default"/>
    <dgm:cxn modelId="{EBE592D5-6B95-45C7-BDC1-3192B4189929}" type="presOf" srcId="{63D5D45F-7FC2-4997-9A9F-D47FED4198B9}" destId="{0FD940A2-71A8-4B28-AC50-7AD60FD23548}" srcOrd="0" destOrd="0" presId="urn:microsoft.com/office/officeart/2005/8/layout/default"/>
    <dgm:cxn modelId="{64F328D8-0410-4B88-B01D-0FAEE2669149}" srcId="{41D7E2F2-5A1B-4D90-9FEE-D17AAA3BAE55}" destId="{63D5D45F-7FC2-4997-9A9F-D47FED4198B9}" srcOrd="2" destOrd="0" parTransId="{5E0D1930-4BF9-42FF-9B79-59F749CDAA7F}" sibTransId="{AC65DA58-B00E-4B1E-9031-7DEEAC0D85DC}"/>
    <dgm:cxn modelId="{28B481E3-69A9-4D71-95A9-DF9D7FA99030}" type="presOf" srcId="{A0510B62-B93D-4E67-9E0D-89304264BCD0}" destId="{BFACF93C-C218-4434-B5AC-A1DC9C287369}" srcOrd="0" destOrd="0" presId="urn:microsoft.com/office/officeart/2005/8/layout/default"/>
    <dgm:cxn modelId="{564D02E9-547F-4307-9B62-2BFFCB546081}" srcId="{41D7E2F2-5A1B-4D90-9FEE-D17AAA3BAE55}" destId="{7CF93E28-42EE-4532-A57A-F57CE199E52D}" srcOrd="3" destOrd="0" parTransId="{D9F8A767-8E02-4980-87B1-B8996F28ACA0}" sibTransId="{5C6CEB51-A321-4BAA-B6F8-ECAF561B135C}"/>
    <dgm:cxn modelId="{7CD50BF8-ECD0-44DF-BA21-DA1F6319175D}" type="presOf" srcId="{41D7E2F2-5A1B-4D90-9FEE-D17AAA3BAE55}" destId="{733C18BD-C4FF-4B07-A3E3-02286DCAB740}" srcOrd="0" destOrd="0" presId="urn:microsoft.com/office/officeart/2005/8/layout/default"/>
    <dgm:cxn modelId="{FB374BEE-3949-433B-BB14-771D8DDD280A}" type="presParOf" srcId="{733C18BD-C4FF-4B07-A3E3-02286DCAB740}" destId="{4C24C07F-3085-40B7-AB15-5D0A589D68DA}" srcOrd="0" destOrd="0" presId="urn:microsoft.com/office/officeart/2005/8/layout/default"/>
    <dgm:cxn modelId="{D2681EE4-D582-4F92-813F-42F488E680F8}" type="presParOf" srcId="{733C18BD-C4FF-4B07-A3E3-02286DCAB740}" destId="{81E6EF35-DE3B-4E3E-943F-8DD65673B8BF}" srcOrd="1" destOrd="0" presId="urn:microsoft.com/office/officeart/2005/8/layout/default"/>
    <dgm:cxn modelId="{83D5A44D-4951-43C9-8900-46F0425ED1CE}" type="presParOf" srcId="{733C18BD-C4FF-4B07-A3E3-02286DCAB740}" destId="{BD9C2C9A-2598-4254-B645-82FF54051F12}" srcOrd="2" destOrd="0" presId="urn:microsoft.com/office/officeart/2005/8/layout/default"/>
    <dgm:cxn modelId="{4E5EF5B3-090E-4D29-8976-3B9C387EF0CB}" type="presParOf" srcId="{733C18BD-C4FF-4B07-A3E3-02286DCAB740}" destId="{6D625C05-9B59-4D74-BF62-9D3FD04E2026}" srcOrd="3" destOrd="0" presId="urn:microsoft.com/office/officeart/2005/8/layout/default"/>
    <dgm:cxn modelId="{AC5CD923-F604-459A-B8A4-98CACA2BDFDE}" type="presParOf" srcId="{733C18BD-C4FF-4B07-A3E3-02286DCAB740}" destId="{0FD940A2-71A8-4B28-AC50-7AD60FD23548}" srcOrd="4" destOrd="0" presId="urn:microsoft.com/office/officeart/2005/8/layout/default"/>
    <dgm:cxn modelId="{A930E40E-B385-48AF-A2FA-E590B8E6D4A8}" type="presParOf" srcId="{733C18BD-C4FF-4B07-A3E3-02286DCAB740}" destId="{1B873F98-BA8E-4A38-85A2-C11AC30870ED}" srcOrd="5" destOrd="0" presId="urn:microsoft.com/office/officeart/2005/8/layout/default"/>
    <dgm:cxn modelId="{382D661E-5AD2-4C3B-8AF5-902A0AF7A779}" type="presParOf" srcId="{733C18BD-C4FF-4B07-A3E3-02286DCAB740}" destId="{E428DC56-296F-4E27-B717-85A6AC619DEE}" srcOrd="6" destOrd="0" presId="urn:microsoft.com/office/officeart/2005/8/layout/default"/>
    <dgm:cxn modelId="{6E0BDB0D-597C-43CF-A57D-6389A4DD2986}" type="presParOf" srcId="{733C18BD-C4FF-4B07-A3E3-02286DCAB740}" destId="{722A943D-A342-4C49-9FF4-8E20CBC0E1F8}" srcOrd="7" destOrd="0" presId="urn:microsoft.com/office/officeart/2005/8/layout/default"/>
    <dgm:cxn modelId="{03FA0647-28E8-4114-A6A4-BFCBDE5F72F9}" type="presParOf" srcId="{733C18BD-C4FF-4B07-A3E3-02286DCAB740}" destId="{6CA38350-2CEE-4745-BAD6-90FE4B45B6F7}" srcOrd="8" destOrd="0" presId="urn:microsoft.com/office/officeart/2005/8/layout/default"/>
    <dgm:cxn modelId="{C4B8ACE4-A58B-40F9-8D88-1F1E9538EC42}" type="presParOf" srcId="{733C18BD-C4FF-4B07-A3E3-02286DCAB740}" destId="{CDB090E7-A55D-49D4-893B-51EBBF76B987}" srcOrd="9" destOrd="0" presId="urn:microsoft.com/office/officeart/2005/8/layout/default"/>
    <dgm:cxn modelId="{1C7C9F2E-F16C-43E3-83B3-13209183C545}" type="presParOf" srcId="{733C18BD-C4FF-4B07-A3E3-02286DCAB740}" destId="{BFACF93C-C218-4434-B5AC-A1DC9C287369}" srcOrd="10" destOrd="0" presId="urn:microsoft.com/office/officeart/2005/8/layout/default"/>
    <dgm:cxn modelId="{8A1973FC-B07A-4DDF-A9B1-9841540C42E6}" type="presParOf" srcId="{733C18BD-C4FF-4B07-A3E3-02286DCAB740}" destId="{F41CE5B2-5BC0-4BE2-885E-2703121553F5}" srcOrd="11" destOrd="0" presId="urn:microsoft.com/office/officeart/2005/8/layout/default"/>
    <dgm:cxn modelId="{FE79DCA3-80BB-4050-8343-E57AE1707C95}" type="presParOf" srcId="{733C18BD-C4FF-4B07-A3E3-02286DCAB740}" destId="{6DD28D35-CF9F-4AC3-A36C-29FBD2423A43}" srcOrd="12" destOrd="0" presId="urn:microsoft.com/office/officeart/2005/8/layout/default"/>
    <dgm:cxn modelId="{5B9A0151-0CE2-4E64-84DE-94C3A47961B0}" type="presParOf" srcId="{733C18BD-C4FF-4B07-A3E3-02286DCAB740}" destId="{15815959-A6AC-4F08-B191-5310247F5172}" srcOrd="13" destOrd="0" presId="urn:microsoft.com/office/officeart/2005/8/layout/default"/>
    <dgm:cxn modelId="{15324144-6F4F-49A5-BD08-F6F16A987261}" type="presParOf" srcId="{733C18BD-C4FF-4B07-A3E3-02286DCAB740}" destId="{87F9B72D-CFF0-4523-A03C-9917FE72E43F}" srcOrd="14" destOrd="0" presId="urn:microsoft.com/office/officeart/2005/8/layout/default"/>
    <dgm:cxn modelId="{E2190069-DC92-4019-8D67-28578DA47E5F}" type="presParOf" srcId="{733C18BD-C4FF-4B07-A3E3-02286DCAB740}" destId="{47484280-9FC5-43A8-80A5-BB63E92C1ABB}" srcOrd="15" destOrd="0" presId="urn:microsoft.com/office/officeart/2005/8/layout/default"/>
    <dgm:cxn modelId="{646F5706-4E2B-4932-AA25-28A58890EAF4}" type="presParOf" srcId="{733C18BD-C4FF-4B07-A3E3-02286DCAB740}" destId="{0097D303-1836-453A-BCD8-E76EFB4BEC49}" srcOrd="1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BA185E-5EAB-4752-A013-18175D271C77}">
      <dsp:nvSpPr>
        <dsp:cNvPr id="0" name=""/>
        <dsp:cNvSpPr/>
      </dsp:nvSpPr>
      <dsp:spPr>
        <a:xfrm>
          <a:off x="2707499" y="1084763"/>
          <a:ext cx="59088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90887" y="45720"/>
              </a:lnTo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500" kern="1200"/>
        </a:p>
      </dsp:txBody>
      <dsp:txXfrm>
        <a:off x="2987405" y="1127375"/>
        <a:ext cx="31074" cy="6214"/>
      </dsp:txXfrm>
    </dsp:sp>
    <dsp:sp modelId="{6965BCB4-9338-4D55-B7B3-4FEC6A556989}">
      <dsp:nvSpPr>
        <dsp:cNvPr id="0" name=""/>
        <dsp:cNvSpPr/>
      </dsp:nvSpPr>
      <dsp:spPr>
        <a:xfrm>
          <a:off x="7178" y="319847"/>
          <a:ext cx="2702120" cy="16212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000" kern="1200" dirty="0">
              <a:solidFill>
                <a:schemeClr val="tx2"/>
              </a:solidFill>
            </a:rPr>
            <a:t>Realisierungskonzept</a:t>
          </a:r>
        </a:p>
      </dsp:txBody>
      <dsp:txXfrm>
        <a:off x="7178" y="319847"/>
        <a:ext cx="2702120" cy="1621272"/>
      </dsp:txXfrm>
    </dsp:sp>
    <dsp:sp modelId="{8F3E7725-1781-4BDF-AAAE-643A335E17D6}">
      <dsp:nvSpPr>
        <dsp:cNvPr id="0" name=""/>
        <dsp:cNvSpPr/>
      </dsp:nvSpPr>
      <dsp:spPr>
        <a:xfrm>
          <a:off x="6031107" y="1084763"/>
          <a:ext cx="59088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90887" y="45720"/>
              </a:lnTo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500" kern="1200"/>
        </a:p>
      </dsp:txBody>
      <dsp:txXfrm>
        <a:off x="6311014" y="1127375"/>
        <a:ext cx="31074" cy="6214"/>
      </dsp:txXfrm>
    </dsp:sp>
    <dsp:sp modelId="{E6AED59F-A6F8-425F-AA5C-FCC4A9940081}">
      <dsp:nvSpPr>
        <dsp:cNvPr id="0" name=""/>
        <dsp:cNvSpPr/>
      </dsp:nvSpPr>
      <dsp:spPr>
        <a:xfrm>
          <a:off x="3330787" y="319847"/>
          <a:ext cx="2702120" cy="16212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000" kern="1200" dirty="0">
              <a:solidFill>
                <a:schemeClr val="tx2"/>
              </a:solidFill>
            </a:rPr>
            <a:t>Mockups</a:t>
          </a:r>
        </a:p>
      </dsp:txBody>
      <dsp:txXfrm>
        <a:off x="3330787" y="319847"/>
        <a:ext cx="2702120" cy="1621272"/>
      </dsp:txXfrm>
    </dsp:sp>
    <dsp:sp modelId="{C3DBF54B-B02A-4275-B2E6-51BDF6FB52A3}">
      <dsp:nvSpPr>
        <dsp:cNvPr id="0" name=""/>
        <dsp:cNvSpPr/>
      </dsp:nvSpPr>
      <dsp:spPr>
        <a:xfrm>
          <a:off x="1358238" y="1939319"/>
          <a:ext cx="6647217" cy="590887"/>
        </a:xfrm>
        <a:custGeom>
          <a:avLst/>
          <a:gdLst/>
          <a:ahLst/>
          <a:cxnLst/>
          <a:rect l="0" t="0" r="0" b="0"/>
          <a:pathLst>
            <a:path>
              <a:moveTo>
                <a:pt x="6647217" y="0"/>
              </a:moveTo>
              <a:lnTo>
                <a:pt x="6647217" y="312543"/>
              </a:lnTo>
              <a:lnTo>
                <a:pt x="0" y="312543"/>
              </a:lnTo>
              <a:lnTo>
                <a:pt x="0" y="590887"/>
              </a:lnTo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500" kern="1200"/>
        </a:p>
      </dsp:txBody>
      <dsp:txXfrm>
        <a:off x="4514942" y="2231656"/>
        <a:ext cx="333810" cy="6214"/>
      </dsp:txXfrm>
    </dsp:sp>
    <dsp:sp modelId="{3C47FB04-E3DC-41F2-AC6D-873F838E7019}">
      <dsp:nvSpPr>
        <dsp:cNvPr id="0" name=""/>
        <dsp:cNvSpPr/>
      </dsp:nvSpPr>
      <dsp:spPr>
        <a:xfrm>
          <a:off x="6654395" y="319847"/>
          <a:ext cx="2702120" cy="16212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000" kern="1200" dirty="0">
              <a:solidFill>
                <a:schemeClr val="tx2"/>
              </a:solidFill>
            </a:rPr>
            <a:t>Konzeptionelle</a:t>
          </a:r>
          <a:r>
            <a:rPr lang="de-CH" sz="2000" kern="1200" dirty="0"/>
            <a:t> </a:t>
          </a:r>
          <a:r>
            <a:rPr lang="de-CH" sz="2000" kern="1200" dirty="0">
              <a:solidFill>
                <a:schemeClr val="tx2"/>
              </a:solidFill>
            </a:rPr>
            <a:t>Umsetzung</a:t>
          </a:r>
        </a:p>
      </dsp:txBody>
      <dsp:txXfrm>
        <a:off x="6654395" y="319847"/>
        <a:ext cx="2702120" cy="1621272"/>
      </dsp:txXfrm>
    </dsp:sp>
    <dsp:sp modelId="{5DA657D5-A3D2-46BE-9E6A-4BAD2872F1FA}">
      <dsp:nvSpPr>
        <dsp:cNvPr id="0" name=""/>
        <dsp:cNvSpPr/>
      </dsp:nvSpPr>
      <dsp:spPr>
        <a:xfrm>
          <a:off x="2707499" y="3327523"/>
          <a:ext cx="59088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90887" y="45720"/>
              </a:lnTo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500" kern="1200"/>
        </a:p>
      </dsp:txBody>
      <dsp:txXfrm>
        <a:off x="2987405" y="3370136"/>
        <a:ext cx="31074" cy="6214"/>
      </dsp:txXfrm>
    </dsp:sp>
    <dsp:sp modelId="{C5EA5A52-1E01-4AD9-90E3-1BD46CBAAB1C}">
      <dsp:nvSpPr>
        <dsp:cNvPr id="0" name=""/>
        <dsp:cNvSpPr/>
      </dsp:nvSpPr>
      <dsp:spPr>
        <a:xfrm>
          <a:off x="7178" y="2562607"/>
          <a:ext cx="2702120" cy="16212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000" kern="1200" dirty="0" err="1">
              <a:solidFill>
                <a:schemeClr val="tx2"/>
              </a:solidFill>
            </a:rPr>
            <a:t>Product</a:t>
          </a:r>
          <a:r>
            <a:rPr lang="de-CH" sz="2000" kern="1200" dirty="0">
              <a:solidFill>
                <a:schemeClr val="tx2"/>
              </a:solidFill>
            </a:rPr>
            <a:t> Backlog Items</a:t>
          </a:r>
        </a:p>
      </dsp:txBody>
      <dsp:txXfrm>
        <a:off x="7178" y="2562607"/>
        <a:ext cx="2702120" cy="1621272"/>
      </dsp:txXfrm>
    </dsp:sp>
    <dsp:sp modelId="{A97839FB-36BF-4DE9-8778-F304538007AB}">
      <dsp:nvSpPr>
        <dsp:cNvPr id="0" name=""/>
        <dsp:cNvSpPr/>
      </dsp:nvSpPr>
      <dsp:spPr>
        <a:xfrm>
          <a:off x="3330787" y="2562607"/>
          <a:ext cx="2702120" cy="16212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000" kern="1200" dirty="0">
              <a:solidFill>
                <a:schemeClr val="tx2"/>
              </a:solidFill>
            </a:rPr>
            <a:t>Testkonzept</a:t>
          </a:r>
        </a:p>
      </dsp:txBody>
      <dsp:txXfrm>
        <a:off x="3330787" y="2562607"/>
        <a:ext cx="2702120" cy="162127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24C07F-3085-40B7-AB15-5D0A589D68DA}">
      <dsp:nvSpPr>
        <dsp:cNvPr id="0" name=""/>
        <dsp:cNvSpPr/>
      </dsp:nvSpPr>
      <dsp:spPr>
        <a:xfrm>
          <a:off x="0" y="269413"/>
          <a:ext cx="2547604" cy="15285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700" kern="1200" dirty="0">
              <a:solidFill>
                <a:schemeClr val="tx2"/>
              </a:solidFill>
            </a:rPr>
            <a:t>Repository</a:t>
          </a:r>
        </a:p>
      </dsp:txBody>
      <dsp:txXfrm>
        <a:off x="0" y="269413"/>
        <a:ext cx="2547604" cy="1528562"/>
      </dsp:txXfrm>
    </dsp:sp>
    <dsp:sp modelId="{BD9C2C9A-2598-4254-B645-82FF54051F12}">
      <dsp:nvSpPr>
        <dsp:cNvPr id="0" name=""/>
        <dsp:cNvSpPr/>
      </dsp:nvSpPr>
      <dsp:spPr>
        <a:xfrm>
          <a:off x="2802364" y="269413"/>
          <a:ext cx="2547604" cy="15285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700" kern="1200" dirty="0">
              <a:solidFill>
                <a:schemeClr val="tx2"/>
              </a:solidFill>
            </a:rPr>
            <a:t>Service</a:t>
          </a:r>
        </a:p>
      </dsp:txBody>
      <dsp:txXfrm>
        <a:off x="2802364" y="269413"/>
        <a:ext cx="2547604" cy="1528562"/>
      </dsp:txXfrm>
    </dsp:sp>
    <dsp:sp modelId="{0FD940A2-71A8-4B28-AC50-7AD60FD23548}">
      <dsp:nvSpPr>
        <dsp:cNvPr id="0" name=""/>
        <dsp:cNvSpPr/>
      </dsp:nvSpPr>
      <dsp:spPr>
        <a:xfrm>
          <a:off x="5604728" y="269413"/>
          <a:ext cx="2547604" cy="15285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700" kern="1200" dirty="0">
              <a:solidFill>
                <a:schemeClr val="tx2"/>
              </a:solidFill>
            </a:rPr>
            <a:t>Endpoints</a:t>
          </a:r>
        </a:p>
      </dsp:txBody>
      <dsp:txXfrm>
        <a:off x="5604728" y="269413"/>
        <a:ext cx="2547604" cy="1528562"/>
      </dsp:txXfrm>
    </dsp:sp>
    <dsp:sp modelId="{E428DC56-296F-4E27-B717-85A6AC619DEE}">
      <dsp:nvSpPr>
        <dsp:cNvPr id="0" name=""/>
        <dsp:cNvSpPr/>
      </dsp:nvSpPr>
      <dsp:spPr>
        <a:xfrm>
          <a:off x="1401182" y="2052736"/>
          <a:ext cx="2547604" cy="15285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700" kern="1200" dirty="0">
              <a:solidFill>
                <a:schemeClr val="tx2"/>
              </a:solidFill>
            </a:rPr>
            <a:t>Packages</a:t>
          </a:r>
        </a:p>
      </dsp:txBody>
      <dsp:txXfrm>
        <a:off x="1401182" y="2052736"/>
        <a:ext cx="2547604" cy="1528562"/>
      </dsp:txXfrm>
    </dsp:sp>
    <dsp:sp modelId="{6CA38350-2CEE-4745-BAD6-90FE4B45B6F7}">
      <dsp:nvSpPr>
        <dsp:cNvPr id="0" name=""/>
        <dsp:cNvSpPr/>
      </dsp:nvSpPr>
      <dsp:spPr>
        <a:xfrm>
          <a:off x="4203546" y="2052736"/>
          <a:ext cx="2547604" cy="15285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700" kern="1200" dirty="0">
              <a:solidFill>
                <a:schemeClr val="tx2"/>
              </a:solidFill>
            </a:rPr>
            <a:t>Logging</a:t>
          </a:r>
        </a:p>
      </dsp:txBody>
      <dsp:txXfrm>
        <a:off x="4203546" y="2052736"/>
        <a:ext cx="2547604" cy="152856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24C07F-3085-40B7-AB15-5D0A589D68DA}">
      <dsp:nvSpPr>
        <dsp:cNvPr id="0" name=""/>
        <dsp:cNvSpPr/>
      </dsp:nvSpPr>
      <dsp:spPr>
        <a:xfrm>
          <a:off x="3814" y="709663"/>
          <a:ext cx="2065483" cy="123929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400" kern="1200" dirty="0">
              <a:solidFill>
                <a:schemeClr val="tx2"/>
              </a:solidFill>
            </a:rPr>
            <a:t>neues Modul</a:t>
          </a:r>
        </a:p>
      </dsp:txBody>
      <dsp:txXfrm>
        <a:off x="3814" y="709663"/>
        <a:ext cx="2065483" cy="1239290"/>
      </dsp:txXfrm>
    </dsp:sp>
    <dsp:sp modelId="{BD9C2C9A-2598-4254-B645-82FF54051F12}">
      <dsp:nvSpPr>
        <dsp:cNvPr id="0" name=""/>
        <dsp:cNvSpPr/>
      </dsp:nvSpPr>
      <dsp:spPr>
        <a:xfrm>
          <a:off x="2275846" y="709663"/>
          <a:ext cx="2065483" cy="123929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400" kern="1200" dirty="0">
              <a:solidFill>
                <a:schemeClr val="tx2"/>
              </a:solidFill>
            </a:rPr>
            <a:t>Service</a:t>
          </a:r>
        </a:p>
      </dsp:txBody>
      <dsp:txXfrm>
        <a:off x="2275846" y="709663"/>
        <a:ext cx="2065483" cy="1239290"/>
      </dsp:txXfrm>
    </dsp:sp>
    <dsp:sp modelId="{0FD940A2-71A8-4B28-AC50-7AD60FD23548}">
      <dsp:nvSpPr>
        <dsp:cNvPr id="0" name=""/>
        <dsp:cNvSpPr/>
      </dsp:nvSpPr>
      <dsp:spPr>
        <a:xfrm>
          <a:off x="4547878" y="709663"/>
          <a:ext cx="2065483" cy="123929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400" kern="1200" dirty="0">
              <a:solidFill>
                <a:schemeClr val="tx2"/>
              </a:solidFill>
            </a:rPr>
            <a:t>State</a:t>
          </a:r>
        </a:p>
      </dsp:txBody>
      <dsp:txXfrm>
        <a:off x="4547878" y="709663"/>
        <a:ext cx="2065483" cy="1239290"/>
      </dsp:txXfrm>
    </dsp:sp>
    <dsp:sp modelId="{E428DC56-296F-4E27-B717-85A6AC619DEE}">
      <dsp:nvSpPr>
        <dsp:cNvPr id="0" name=""/>
        <dsp:cNvSpPr/>
      </dsp:nvSpPr>
      <dsp:spPr>
        <a:xfrm>
          <a:off x="6819910" y="709663"/>
          <a:ext cx="2065483" cy="123929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400" kern="1200" dirty="0">
              <a:solidFill>
                <a:schemeClr val="tx2"/>
              </a:solidFill>
            </a:rPr>
            <a:t>Components</a:t>
          </a:r>
        </a:p>
      </dsp:txBody>
      <dsp:txXfrm>
        <a:off x="6819910" y="709663"/>
        <a:ext cx="2065483" cy="1239290"/>
      </dsp:txXfrm>
    </dsp:sp>
    <dsp:sp modelId="{6CA38350-2CEE-4745-BAD6-90FE4B45B6F7}">
      <dsp:nvSpPr>
        <dsp:cNvPr id="0" name=""/>
        <dsp:cNvSpPr/>
      </dsp:nvSpPr>
      <dsp:spPr>
        <a:xfrm>
          <a:off x="9091942" y="709663"/>
          <a:ext cx="2065483" cy="123929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400" kern="1200" dirty="0">
              <a:solidFill>
                <a:schemeClr val="tx2"/>
              </a:solidFill>
            </a:rPr>
            <a:t>ngx-quill</a:t>
          </a:r>
        </a:p>
      </dsp:txBody>
      <dsp:txXfrm>
        <a:off x="9091942" y="709663"/>
        <a:ext cx="2065483" cy="1239290"/>
      </dsp:txXfrm>
    </dsp:sp>
    <dsp:sp modelId="{BFACF93C-C218-4434-B5AC-A1DC9C287369}">
      <dsp:nvSpPr>
        <dsp:cNvPr id="0" name=""/>
        <dsp:cNvSpPr/>
      </dsp:nvSpPr>
      <dsp:spPr>
        <a:xfrm>
          <a:off x="1139830" y="2155502"/>
          <a:ext cx="2065483" cy="123929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400" kern="1200" dirty="0">
              <a:solidFill>
                <a:schemeClr val="tx2"/>
              </a:solidFill>
            </a:rPr>
            <a:t>Routing</a:t>
          </a:r>
        </a:p>
      </dsp:txBody>
      <dsp:txXfrm>
        <a:off x="1139830" y="2155502"/>
        <a:ext cx="2065483" cy="1239290"/>
      </dsp:txXfrm>
    </dsp:sp>
    <dsp:sp modelId="{6DD28D35-CF9F-4AC3-A36C-29FBD2423A43}">
      <dsp:nvSpPr>
        <dsp:cNvPr id="0" name=""/>
        <dsp:cNvSpPr/>
      </dsp:nvSpPr>
      <dsp:spPr>
        <a:xfrm>
          <a:off x="3411862" y="2155502"/>
          <a:ext cx="2065483" cy="123929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400" kern="1200" dirty="0">
              <a:solidFill>
                <a:schemeClr val="tx2"/>
              </a:solidFill>
            </a:rPr>
            <a:t>Validierung &amp; Rückmeldung</a:t>
          </a:r>
        </a:p>
      </dsp:txBody>
      <dsp:txXfrm>
        <a:off x="3411862" y="2155502"/>
        <a:ext cx="2065483" cy="1239290"/>
      </dsp:txXfrm>
    </dsp:sp>
    <dsp:sp modelId="{87F9B72D-CFF0-4523-A03C-9917FE72E43F}">
      <dsp:nvSpPr>
        <dsp:cNvPr id="0" name=""/>
        <dsp:cNvSpPr/>
      </dsp:nvSpPr>
      <dsp:spPr>
        <a:xfrm>
          <a:off x="5683894" y="2155502"/>
          <a:ext cx="2065483" cy="123929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400" kern="1200" dirty="0">
              <a:solidFill>
                <a:schemeClr val="tx2"/>
              </a:solidFill>
            </a:rPr>
            <a:t>Lokalisierung</a:t>
          </a:r>
        </a:p>
      </dsp:txBody>
      <dsp:txXfrm>
        <a:off x="5683894" y="2155502"/>
        <a:ext cx="2065483" cy="1239290"/>
      </dsp:txXfrm>
    </dsp:sp>
    <dsp:sp modelId="{0097D303-1836-453A-BCD8-E76EFB4BEC49}">
      <dsp:nvSpPr>
        <dsp:cNvPr id="0" name=""/>
        <dsp:cNvSpPr/>
      </dsp:nvSpPr>
      <dsp:spPr>
        <a:xfrm>
          <a:off x="7955926" y="2155502"/>
          <a:ext cx="2065483" cy="123929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400" kern="1200" dirty="0">
              <a:solidFill>
                <a:schemeClr val="tx2"/>
              </a:solidFill>
            </a:rPr>
            <a:t>Suchfunktion</a:t>
          </a:r>
        </a:p>
      </dsp:txBody>
      <dsp:txXfrm>
        <a:off x="7955926" y="2155502"/>
        <a:ext cx="2065483" cy="12392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7" y="4"/>
            <a:ext cx="2945659" cy="496411"/>
          </a:xfrm>
          <a:prstGeom prst="rect">
            <a:avLst/>
          </a:prstGeom>
        </p:spPr>
        <p:txBody>
          <a:bodyPr vert="horz" lIns="91392" tIns="45698" rIns="91392" bIns="45698" rtlCol="0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9" y="4"/>
            <a:ext cx="2945659" cy="496411"/>
          </a:xfrm>
          <a:prstGeom prst="rect">
            <a:avLst/>
          </a:prstGeom>
        </p:spPr>
        <p:txBody>
          <a:bodyPr vert="horz" lIns="91392" tIns="45698" rIns="91392" bIns="45698" rtlCol="0"/>
          <a:lstStyle>
            <a:lvl1pPr algn="r">
              <a:defRPr sz="1200"/>
            </a:lvl1pPr>
          </a:lstStyle>
          <a:p>
            <a:fld id="{BABFC73F-0FD5-42C9-9140-883C6C2490C0}" type="datetimeFigureOut">
              <a:rPr lang="de-CH" smtClean="0"/>
              <a:t>12.04.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7" y="9430096"/>
            <a:ext cx="2945659" cy="496411"/>
          </a:xfrm>
          <a:prstGeom prst="rect">
            <a:avLst/>
          </a:prstGeom>
        </p:spPr>
        <p:txBody>
          <a:bodyPr vert="horz" lIns="91392" tIns="45698" rIns="91392" bIns="45698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9" y="9430096"/>
            <a:ext cx="2945659" cy="496411"/>
          </a:xfrm>
          <a:prstGeom prst="rect">
            <a:avLst/>
          </a:prstGeom>
        </p:spPr>
        <p:txBody>
          <a:bodyPr vert="horz" lIns="91392" tIns="45698" rIns="91392" bIns="45698" rtlCol="0" anchor="b"/>
          <a:lstStyle>
            <a:lvl1pPr algn="r">
              <a:defRPr sz="1200"/>
            </a:lvl1pPr>
          </a:lstStyle>
          <a:p>
            <a:fld id="{BDDC1238-5DF7-4316-9C2B-568EC9F976E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5039667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7" y="4"/>
            <a:ext cx="2945659" cy="496411"/>
          </a:xfrm>
          <a:prstGeom prst="rect">
            <a:avLst/>
          </a:prstGeom>
        </p:spPr>
        <p:txBody>
          <a:bodyPr vert="horz" lIns="91392" tIns="45698" rIns="91392" bIns="45698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9" y="4"/>
            <a:ext cx="2945659" cy="496411"/>
          </a:xfrm>
          <a:prstGeom prst="rect">
            <a:avLst/>
          </a:prstGeom>
        </p:spPr>
        <p:txBody>
          <a:bodyPr vert="horz" lIns="91392" tIns="45698" rIns="91392" bIns="45698" rtlCol="0"/>
          <a:lstStyle>
            <a:lvl1pPr algn="r">
              <a:defRPr sz="1200"/>
            </a:lvl1pPr>
          </a:lstStyle>
          <a:p>
            <a:fld id="{9D9D8948-1093-41FA-88A9-CF3DC550FCC2}" type="datetimeFigureOut">
              <a:rPr lang="de-CH" smtClean="0"/>
              <a:t>12.04.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92" tIns="45698" rIns="91392" bIns="45698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9" y="4715914"/>
            <a:ext cx="5438140" cy="4467701"/>
          </a:xfrm>
          <a:prstGeom prst="rect">
            <a:avLst/>
          </a:prstGeom>
        </p:spPr>
        <p:txBody>
          <a:bodyPr vert="horz" lIns="91392" tIns="45698" rIns="91392" bIns="45698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7" y="9430096"/>
            <a:ext cx="2945659" cy="496411"/>
          </a:xfrm>
          <a:prstGeom prst="rect">
            <a:avLst/>
          </a:prstGeom>
        </p:spPr>
        <p:txBody>
          <a:bodyPr vert="horz" lIns="91392" tIns="45698" rIns="91392" bIns="45698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9" y="9430096"/>
            <a:ext cx="2945659" cy="496411"/>
          </a:xfrm>
          <a:prstGeom prst="rect">
            <a:avLst/>
          </a:prstGeom>
        </p:spPr>
        <p:txBody>
          <a:bodyPr vert="horz" lIns="91392" tIns="45698" rIns="91392" bIns="45698" rtlCol="0" anchor="b"/>
          <a:lstStyle>
            <a:lvl1pPr algn="r">
              <a:defRPr sz="1200"/>
            </a:lvl1pPr>
          </a:lstStyle>
          <a:p>
            <a:fld id="{14C9982B-3B7F-459A-B1F6-20DE20C99E33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4392844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9538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7692" algn="l" defTabSz="99538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5381" algn="l" defTabSz="99538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3073" algn="l" defTabSz="99538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0763" algn="l" defTabSz="99538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88454" algn="l" defTabSz="99538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6144" algn="l" defTabSz="99538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3836" algn="l" defTabSz="99538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1526" algn="l" defTabSz="99538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Fidat</a:t>
            </a:r>
            <a:r>
              <a:rPr lang="de-CH" dirty="0"/>
              <a:t> ein wenig erklär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C9982B-3B7F-459A-B1F6-20DE20C99E33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160598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PBIs erklär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C9982B-3B7F-459A-B1F6-20DE20C99E33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6256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AUFTEIL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C9982B-3B7F-459A-B1F6-20DE20C99E33}" type="slidenum">
              <a:rPr lang="de-CH" smtClean="0"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898756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pinner </a:t>
            </a:r>
            <a:r>
              <a:rPr lang="de-CH" dirty="0" err="1"/>
              <a:t>Allgememein</a:t>
            </a:r>
            <a:r>
              <a:rPr lang="de-CH" dirty="0"/>
              <a:t> erklären</a:t>
            </a:r>
          </a:p>
          <a:p>
            <a:r>
              <a:rPr lang="de-CH" dirty="0" err="1"/>
              <a:t>Paging</a:t>
            </a:r>
            <a:r>
              <a:rPr lang="de-CH" dirty="0"/>
              <a:t>?</a:t>
            </a:r>
          </a:p>
          <a:p>
            <a:endParaRPr lang="de-CH" dirty="0"/>
          </a:p>
          <a:p>
            <a:r>
              <a:rPr lang="de-CH" dirty="0"/>
              <a:t>Umgebungen erklär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C9982B-3B7F-459A-B1F6-20DE20C99E33}" type="slidenum">
              <a:rPr lang="de-CH" smtClean="0"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59690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3D318B2C-8FDA-430E-8512-234D074D55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4340" y="215900"/>
            <a:ext cx="594000" cy="594000"/>
          </a:xfrm>
          <a:prstGeom prst="rect">
            <a:avLst/>
          </a:prstGeom>
        </p:spPr>
      </p:pic>
      <p:sp>
        <p:nvSpPr>
          <p:cNvPr id="9" name="Ort_und_Datum">
            <a:extLst>
              <a:ext uri="{FF2B5EF4-FFF2-40B4-BE49-F238E27FC236}">
                <a16:creationId xmlns:a16="http://schemas.microsoft.com/office/drawing/2014/main" id="{644EFB58-5408-4B91-8514-92A3E2E369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51782" y="4447514"/>
            <a:ext cx="2795990" cy="23667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i="0" baseline="0">
                <a:solidFill>
                  <a:srgbClr val="565656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Ort, TT.MM.YYYY</a:t>
            </a:r>
          </a:p>
        </p:txBody>
      </p:sp>
      <p:sp>
        <p:nvSpPr>
          <p:cNvPr id="10" name="Name_Berater">
            <a:extLst>
              <a:ext uri="{FF2B5EF4-FFF2-40B4-BE49-F238E27FC236}">
                <a16:creationId xmlns:a16="http://schemas.microsoft.com/office/drawing/2014/main" id="{EF010BA0-2EDB-4BD7-B316-B40494BBA5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6890" y="4090372"/>
            <a:ext cx="4119344" cy="31411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defRPr sz="1600" i="0" baseline="0">
                <a:solidFill>
                  <a:srgbClr val="565656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Autor (optional) &amp; Zusatz</a:t>
            </a:r>
          </a:p>
        </p:txBody>
      </p:sp>
      <p:cxnSp>
        <p:nvCxnSpPr>
          <p:cNvPr id="11" name="Blaue_Linie">
            <a:extLst>
              <a:ext uri="{FF2B5EF4-FFF2-40B4-BE49-F238E27FC236}">
                <a16:creationId xmlns:a16="http://schemas.microsoft.com/office/drawing/2014/main" id="{C51F77FD-0479-48B9-BBEB-B3E265AD21A0}"/>
              </a:ext>
            </a:extLst>
          </p:cNvPr>
          <p:cNvCxnSpPr>
            <a:cxnSpLocks/>
          </p:cNvCxnSpPr>
          <p:nvPr userDrawn="1"/>
        </p:nvCxnSpPr>
        <p:spPr>
          <a:xfrm>
            <a:off x="1366846" y="3995838"/>
            <a:ext cx="4115441" cy="0"/>
          </a:xfrm>
          <a:prstGeom prst="line">
            <a:avLst/>
          </a:prstGeom>
          <a:ln w="15875">
            <a:solidFill>
              <a:srgbClr val="0043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">
            <a:extLst>
              <a:ext uri="{FF2B5EF4-FFF2-40B4-BE49-F238E27FC236}">
                <a16:creationId xmlns:a16="http://schemas.microsoft.com/office/drawing/2014/main" id="{2BCF087A-9DCB-44A0-8F3E-B34555601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8" y="3077265"/>
            <a:ext cx="4114778" cy="878283"/>
          </a:xfrm>
          <a:prstGeom prst="rect">
            <a:avLst/>
          </a:prstGeom>
          <a:ln>
            <a:noFill/>
          </a:ln>
        </p:spPr>
        <p:txBody>
          <a:bodyPr lIns="0" tIns="0" rIns="0" bIns="0" anchor="b" anchorCtr="0"/>
          <a:lstStyle>
            <a:lvl1pPr>
              <a:lnSpc>
                <a:spcPct val="100000"/>
              </a:lnSpc>
              <a:defRPr sz="23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de-DE" dirty="0"/>
              <a:t>Titel</a:t>
            </a:r>
            <a:br>
              <a:rPr lang="de-DE" dirty="0"/>
            </a:br>
            <a:r>
              <a:rPr lang="de-DE" dirty="0" err="1"/>
              <a:t>Titel</a:t>
            </a:r>
            <a:endParaRPr lang="de-CH" dirty="0"/>
          </a:p>
        </p:txBody>
      </p:sp>
      <p:sp>
        <p:nvSpPr>
          <p:cNvPr id="13" name="Teaser">
            <a:extLst>
              <a:ext uri="{FF2B5EF4-FFF2-40B4-BE49-F238E27FC236}">
                <a16:creationId xmlns:a16="http://schemas.microsoft.com/office/drawing/2014/main" id="{F975CD9F-2341-40D9-B9E6-39C81865FB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6874" y="2861626"/>
            <a:ext cx="4117917" cy="280608"/>
          </a:xfrm>
          <a:prstGeom prst="rect">
            <a:avLst/>
          </a:prstGeom>
        </p:spPr>
        <p:txBody>
          <a:bodyPr lIns="0" tIns="0" rIns="0" bIns="0" anchor="t"/>
          <a:lstStyle>
            <a:lvl1pPr>
              <a:spcBef>
                <a:spcPts val="0"/>
              </a:spcBef>
              <a:defRPr sz="1600" i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Beschreibung/Zusatz</a:t>
            </a:r>
          </a:p>
        </p:txBody>
      </p:sp>
    </p:spTree>
    <p:extLst>
      <p:ext uri="{BB962C8B-B14F-4D97-AF65-F5344CB8AC3E}">
        <p14:creationId xmlns:p14="http://schemas.microsoft.com/office/powerpoint/2010/main" val="1106084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titel_1">
            <a:extLst>
              <a:ext uri="{FF2B5EF4-FFF2-40B4-BE49-F238E27FC236}">
                <a16:creationId xmlns:a16="http://schemas.microsoft.com/office/drawing/2014/main" id="{48AACD35-4F4F-42BD-88E9-1315820439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8288" y="1438275"/>
            <a:ext cx="6311900" cy="612775"/>
          </a:xfrm>
          <a:prstGeom prst="rect">
            <a:avLst/>
          </a:prstGeom>
          <a:solidFill>
            <a:srgbClr val="E6E6E6"/>
          </a:solidFill>
        </p:spPr>
        <p:txBody>
          <a:bodyPr anchor="ctr"/>
          <a:lstStyle>
            <a:lvl1pPr marL="357188" indent="-233363">
              <a:spcBef>
                <a:spcPts val="2355"/>
              </a:spcBef>
              <a:buFont typeface="+mj-lt"/>
              <a:buAutoNum type="arabicPeriod"/>
              <a:tabLst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3" name="Inhaltstitel_1">
            <a:extLst>
              <a:ext uri="{FF2B5EF4-FFF2-40B4-BE49-F238E27FC236}">
                <a16:creationId xmlns:a16="http://schemas.microsoft.com/office/drawing/2014/main" id="{A7C87603-3490-4029-938B-A99529009E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8288" y="2051050"/>
            <a:ext cx="6311900" cy="612775"/>
          </a:xfrm>
          <a:prstGeom prst="rect">
            <a:avLst/>
          </a:prstGeom>
          <a:noFill/>
        </p:spPr>
        <p:txBody>
          <a:bodyPr anchor="ctr"/>
          <a:lstStyle>
            <a:lvl1pPr marL="357188" indent="-233363">
              <a:spcBef>
                <a:spcPts val="2355"/>
              </a:spcBef>
              <a:buFont typeface="+mj-lt"/>
              <a:buAutoNum type="arabicPeriod" startAt="2"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4" name="Inhaltstitel_1">
            <a:extLst>
              <a:ext uri="{FF2B5EF4-FFF2-40B4-BE49-F238E27FC236}">
                <a16:creationId xmlns:a16="http://schemas.microsoft.com/office/drawing/2014/main" id="{8674EC5F-9624-4898-876E-40491DBC4ED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8288" y="2663825"/>
            <a:ext cx="6311900" cy="612775"/>
          </a:xfrm>
          <a:prstGeom prst="rect">
            <a:avLst/>
          </a:prstGeom>
          <a:noFill/>
        </p:spPr>
        <p:txBody>
          <a:bodyPr anchor="ctr"/>
          <a:lstStyle>
            <a:lvl1pPr marL="357188" indent="-233363">
              <a:spcBef>
                <a:spcPts val="2355"/>
              </a:spcBef>
              <a:buFont typeface="+mj-lt"/>
              <a:buAutoNum type="arabicPeriod" startAt="3"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5" name="Inhaltstitel_1">
            <a:extLst>
              <a:ext uri="{FF2B5EF4-FFF2-40B4-BE49-F238E27FC236}">
                <a16:creationId xmlns:a16="http://schemas.microsoft.com/office/drawing/2014/main" id="{3C72CD89-59FA-4410-AF03-C9B31D18B0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8288" y="3276600"/>
            <a:ext cx="6311900" cy="612775"/>
          </a:xfrm>
          <a:prstGeom prst="rect">
            <a:avLst/>
          </a:prstGeom>
          <a:noFill/>
        </p:spPr>
        <p:txBody>
          <a:bodyPr anchor="ctr"/>
          <a:lstStyle>
            <a:lvl1pPr marL="357188" indent="-233363">
              <a:spcBef>
                <a:spcPts val="2355"/>
              </a:spcBef>
              <a:buFont typeface="+mj-lt"/>
              <a:buAutoNum type="arabicPeriod" startAt="4"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6" name="Inhaltstitel_1">
            <a:extLst>
              <a:ext uri="{FF2B5EF4-FFF2-40B4-BE49-F238E27FC236}">
                <a16:creationId xmlns:a16="http://schemas.microsoft.com/office/drawing/2014/main" id="{23EA994E-C15F-42E4-84B5-6EB3A61E9A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8288" y="3889376"/>
            <a:ext cx="6311900" cy="612775"/>
          </a:xfrm>
          <a:prstGeom prst="rect">
            <a:avLst/>
          </a:prstGeom>
          <a:noFill/>
        </p:spPr>
        <p:txBody>
          <a:bodyPr anchor="ctr"/>
          <a:lstStyle>
            <a:lvl1pPr marL="357188" indent="-233363">
              <a:spcBef>
                <a:spcPts val="2355"/>
              </a:spcBef>
              <a:buFont typeface="+mj-lt"/>
              <a:buAutoNum type="arabicPeriod" startAt="5"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08596EBD-2900-41B4-80D4-828EBAE0DF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288" y="93533"/>
            <a:ext cx="10969625" cy="77673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ts val="3000"/>
              </a:lnSpc>
              <a:defRPr sz="23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DA1EEE44-77A6-48B3-ACBB-3CBE8C4A20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672101" y="7242862"/>
            <a:ext cx="49624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04643FF1-1918-4E1A-96F4-73A76701DE5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428837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CC75F332-4C88-4150-9C17-BFDAF6F5B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288" y="93533"/>
            <a:ext cx="10969625" cy="77673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ts val="3000"/>
              </a:lnSpc>
              <a:defRPr sz="23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9FD6BF56-7203-4922-A547-71DD10AED2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672101" y="7242862"/>
            <a:ext cx="49624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04643FF1-1918-4E1A-96F4-73A76701DE5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318532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CE2F9C57-8260-4FD0-BF90-9D7749F5D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288" y="93533"/>
            <a:ext cx="10969625" cy="77673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ts val="3000"/>
              </a:lnSpc>
              <a:defRPr sz="23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6BF79CE5-F2B6-4D52-9ECD-53E786D466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97101" y="5724525"/>
            <a:ext cx="9040812" cy="1007053"/>
          </a:xfrm>
          <a:prstGeom prst="rect">
            <a:avLst/>
          </a:prstGeom>
          <a:solidFill>
            <a:srgbClr val="E1E3F0"/>
          </a:solidFill>
        </p:spPr>
        <p:txBody>
          <a:bodyPr lIns="216000" tIns="216000" rIns="216000" bIns="216000" anchor="ctr"/>
          <a:lstStyle>
            <a:lvl1pPr>
              <a:defRPr sz="1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CH" dirty="0"/>
              <a:t>Beurteilung und Fazit</a:t>
            </a:r>
          </a:p>
          <a:p>
            <a:r>
              <a:rPr lang="de-CH" b="0" dirty="0">
                <a:solidFill>
                  <a:schemeClr val="bg1"/>
                </a:solidFill>
              </a:rPr>
              <a:t>Text</a:t>
            </a:r>
            <a:br>
              <a:rPr lang="de-CH" b="0" dirty="0">
                <a:solidFill>
                  <a:schemeClr val="bg1"/>
                </a:solidFill>
              </a:rPr>
            </a:br>
            <a:r>
              <a:rPr lang="de-CH" b="0" dirty="0" err="1">
                <a:solidFill>
                  <a:schemeClr val="bg1"/>
                </a:solidFill>
              </a:rPr>
              <a:t>Text</a:t>
            </a:r>
            <a:endParaRPr lang="de-CH" b="0" dirty="0">
              <a:solidFill>
                <a:schemeClr val="bg1"/>
              </a:solidFill>
            </a:endParaRPr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55202BAF-3364-42E8-B9A7-063F809C45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672101" y="7242862"/>
            <a:ext cx="49624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04643FF1-1918-4E1A-96F4-73A76701DE5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325155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Textfelder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>
            <a:extLst>
              <a:ext uri="{FF2B5EF4-FFF2-40B4-BE49-F238E27FC236}">
                <a16:creationId xmlns:a16="http://schemas.microsoft.com/office/drawing/2014/main" id="{068C56F2-E9AA-4602-8101-AA217D0CEB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288" y="93533"/>
            <a:ext cx="10969625" cy="77673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ts val="3000"/>
              </a:lnSpc>
              <a:defRPr sz="23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10" name="Inhaltsplatzhalter 5">
            <a:extLst>
              <a:ext uri="{FF2B5EF4-FFF2-40B4-BE49-F238E27FC236}">
                <a16:creationId xmlns:a16="http://schemas.microsoft.com/office/drawing/2014/main" id="{1A9C1602-64E9-4BF1-AAD6-EBE52242926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8288" y="2051829"/>
            <a:ext cx="6311900" cy="4895070"/>
          </a:xfrm>
          <a:prstGeom prst="rect">
            <a:avLst/>
          </a:prstGeom>
          <a:solidFill>
            <a:srgbClr val="E6E6E6"/>
          </a:solidFill>
        </p:spPr>
        <p:txBody>
          <a:bodyPr lIns="216000" tIns="216000" rIns="216000" bIns="216000"/>
          <a:lstStyle>
            <a:lvl1pPr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1" name="Inhaltsplatzhalter 5">
            <a:extLst>
              <a:ext uri="{FF2B5EF4-FFF2-40B4-BE49-F238E27FC236}">
                <a16:creationId xmlns:a16="http://schemas.microsoft.com/office/drawing/2014/main" id="{4D19E394-37A4-4E6F-A2DE-4F7AAA05C4E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856413" y="2051830"/>
            <a:ext cx="6303962" cy="4895069"/>
          </a:xfrm>
          <a:prstGeom prst="rect">
            <a:avLst/>
          </a:prstGeom>
          <a:solidFill>
            <a:srgbClr val="E6E6E6"/>
          </a:solidFill>
        </p:spPr>
        <p:txBody>
          <a:bodyPr lIns="216000" tIns="216000" rIns="216000" bIns="216000"/>
          <a:lstStyle>
            <a:lvl1pPr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Inhaltstitel_1">
            <a:extLst>
              <a:ext uri="{FF2B5EF4-FFF2-40B4-BE49-F238E27FC236}">
                <a16:creationId xmlns:a16="http://schemas.microsoft.com/office/drawing/2014/main" id="{BCE6EF61-9EB2-4397-91F6-015A8E8C4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8288" y="1666801"/>
            <a:ext cx="6310800" cy="181553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Font typeface="+mj-lt"/>
              <a:buNone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3" name="Inhaltstitel_1">
            <a:extLst>
              <a:ext uri="{FF2B5EF4-FFF2-40B4-BE49-F238E27FC236}">
                <a16:creationId xmlns:a16="http://schemas.microsoft.com/office/drawing/2014/main" id="{CBA0B556-8E22-419A-ABEE-221A1FDF02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56413" y="1666801"/>
            <a:ext cx="6303962" cy="181553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Font typeface="+mj-lt"/>
              <a:buNone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4AE9CBD4-5945-4A1F-BF09-79FC30B3DA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672101" y="7242862"/>
            <a:ext cx="49624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04643FF1-1918-4E1A-96F4-73A76701DE5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72526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Text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D42F186E-244A-48B7-A451-E94FC507F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288" y="93533"/>
            <a:ext cx="10969625" cy="77673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ts val="3000"/>
              </a:lnSpc>
              <a:defRPr sz="23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12" name="Inhaltsplatzhalter 5">
            <a:extLst>
              <a:ext uri="{FF2B5EF4-FFF2-40B4-BE49-F238E27FC236}">
                <a16:creationId xmlns:a16="http://schemas.microsoft.com/office/drawing/2014/main" id="{C7532CE6-04E3-4F66-83EB-875063E140D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8288" y="1835149"/>
            <a:ext cx="6311900" cy="5111750"/>
          </a:xfrm>
          <a:prstGeom prst="rect">
            <a:avLst/>
          </a:prstGeom>
          <a:solidFill>
            <a:srgbClr val="E6E6E6"/>
          </a:solidFill>
        </p:spPr>
        <p:txBody>
          <a:bodyPr lIns="216000" tIns="216000" rIns="216000" bIns="216000"/>
          <a:lstStyle>
            <a:lvl1pPr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2B4A622B-7F6B-4F3B-A1A8-D5B5CA4AEE6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856413" y="1835150"/>
            <a:ext cx="6303962" cy="5111749"/>
          </a:xfrm>
          <a:prstGeom prst="rect">
            <a:avLst/>
          </a:prstGeom>
          <a:solidFill>
            <a:srgbClr val="E6E6E6"/>
          </a:solidFill>
        </p:spPr>
        <p:txBody>
          <a:bodyPr lIns="216000" tIns="216000" rIns="216000" bIns="216000"/>
          <a:lstStyle>
            <a:lvl1pPr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F32DAEE9-4E33-41A2-AA3C-29A524FC1E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672101" y="7242862"/>
            <a:ext cx="49624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04643FF1-1918-4E1A-96F4-73A76701DE5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512097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3 Textfelder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D7217983-7554-429A-8653-57B92F8FDA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288" y="93533"/>
            <a:ext cx="10969625" cy="77673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ts val="3000"/>
              </a:lnSpc>
              <a:defRPr sz="23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14" name="Inhaltsplatzhalter 5">
            <a:extLst>
              <a:ext uri="{FF2B5EF4-FFF2-40B4-BE49-F238E27FC236}">
                <a16:creationId xmlns:a16="http://schemas.microsoft.com/office/drawing/2014/main" id="{9F88DE3B-38DD-423C-AE30-4E909413FE3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8288" y="2051829"/>
            <a:ext cx="4116387" cy="4895070"/>
          </a:xfrm>
          <a:prstGeom prst="rect">
            <a:avLst/>
          </a:prstGeom>
          <a:solidFill>
            <a:srgbClr val="E6E6E6"/>
          </a:solidFill>
        </p:spPr>
        <p:txBody>
          <a:bodyPr lIns="216000" tIns="216000" rIns="216000" bIns="216000"/>
          <a:lstStyle>
            <a:lvl1pPr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Inhaltstitel_1">
            <a:extLst>
              <a:ext uri="{FF2B5EF4-FFF2-40B4-BE49-F238E27FC236}">
                <a16:creationId xmlns:a16="http://schemas.microsoft.com/office/drawing/2014/main" id="{81350A1E-2BEA-4B07-81B7-3F4EBFB7E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8288" y="1666801"/>
            <a:ext cx="4114800" cy="181553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Font typeface="+mj-lt"/>
              <a:buNone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6" name="Inhaltsplatzhalter 5">
            <a:extLst>
              <a:ext uri="{FF2B5EF4-FFF2-40B4-BE49-F238E27FC236}">
                <a16:creationId xmlns:a16="http://schemas.microsoft.com/office/drawing/2014/main" id="{C9FD126D-EACC-45C2-87FF-4B25B3BFEA2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57726" y="2051829"/>
            <a:ext cx="4116387" cy="4895070"/>
          </a:xfrm>
          <a:prstGeom prst="rect">
            <a:avLst/>
          </a:prstGeom>
          <a:solidFill>
            <a:srgbClr val="E6E6E6"/>
          </a:solidFill>
        </p:spPr>
        <p:txBody>
          <a:bodyPr lIns="216000" tIns="216000" rIns="216000" bIns="216000"/>
          <a:lstStyle>
            <a:lvl1pPr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7" name="Inhaltstitel_1">
            <a:extLst>
              <a:ext uri="{FF2B5EF4-FFF2-40B4-BE49-F238E27FC236}">
                <a16:creationId xmlns:a16="http://schemas.microsoft.com/office/drawing/2014/main" id="{8BB666A4-0B7D-480A-94DE-6D85B021C3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57726" y="1666801"/>
            <a:ext cx="4114800" cy="181553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Font typeface="+mj-lt"/>
              <a:buNone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8" name="Inhaltsplatzhalter 5">
            <a:extLst>
              <a:ext uri="{FF2B5EF4-FFF2-40B4-BE49-F238E27FC236}">
                <a16:creationId xmlns:a16="http://schemas.microsoft.com/office/drawing/2014/main" id="{CC041588-3C7D-43C0-B95A-7AD60D859FA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45575" y="2051829"/>
            <a:ext cx="4116387" cy="4895070"/>
          </a:xfrm>
          <a:prstGeom prst="rect">
            <a:avLst/>
          </a:prstGeom>
          <a:solidFill>
            <a:srgbClr val="E6E6E6"/>
          </a:solidFill>
        </p:spPr>
        <p:txBody>
          <a:bodyPr lIns="216000" tIns="216000" rIns="216000" bIns="216000"/>
          <a:lstStyle>
            <a:lvl1pPr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9" name="Inhaltstitel_1">
            <a:extLst>
              <a:ext uri="{FF2B5EF4-FFF2-40B4-BE49-F238E27FC236}">
                <a16:creationId xmlns:a16="http://schemas.microsoft.com/office/drawing/2014/main" id="{5685F73B-2C99-484D-90B4-DF2A94F44B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45575" y="1666801"/>
            <a:ext cx="4114800" cy="181553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Font typeface="+mj-lt"/>
              <a:buNone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7C3785B1-80D2-48D2-ABB5-626DA7DB28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672101" y="7242862"/>
            <a:ext cx="49624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04643FF1-1918-4E1A-96F4-73A76701DE5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33171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1 Textfeld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36518382-7E20-4E90-83D1-92B3E6FE3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288" y="93533"/>
            <a:ext cx="10969625" cy="77673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ts val="3000"/>
              </a:lnSpc>
              <a:defRPr sz="23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8" name="Inhaltsplatzhalter 5">
            <a:extLst>
              <a:ext uri="{FF2B5EF4-FFF2-40B4-BE49-F238E27FC236}">
                <a16:creationId xmlns:a16="http://schemas.microsoft.com/office/drawing/2014/main" id="{D229CF8B-3B15-46D1-A262-FC7DE2CDE45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8287" y="2051829"/>
            <a:ext cx="12892087" cy="4895070"/>
          </a:xfrm>
          <a:prstGeom prst="rect">
            <a:avLst/>
          </a:prstGeom>
          <a:solidFill>
            <a:srgbClr val="E6E6E6"/>
          </a:solidFill>
        </p:spPr>
        <p:txBody>
          <a:bodyPr lIns="216000" tIns="216000" rIns="216000" bIns="216000"/>
          <a:lstStyle>
            <a:lvl1pPr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Inhaltstitel_1">
            <a:extLst>
              <a:ext uri="{FF2B5EF4-FFF2-40B4-BE49-F238E27FC236}">
                <a16:creationId xmlns:a16="http://schemas.microsoft.com/office/drawing/2014/main" id="{56600E68-3D8A-4DDB-A9BC-94D52C7B5FC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8288" y="1666801"/>
            <a:ext cx="12889840" cy="181553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Font typeface="+mj-lt"/>
              <a:buNone/>
              <a:defRPr sz="1600" b="1">
                <a:solidFill>
                  <a:srgbClr val="004388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9BCC2CBE-8DD5-4AE4-A5E3-4490F2B81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672101" y="7242862"/>
            <a:ext cx="49624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04643FF1-1918-4E1A-96F4-73A76701DE57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0225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Chart_1 Spalte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>
            <a:extLst>
              <a:ext uri="{FF2B5EF4-FFF2-40B4-BE49-F238E27FC236}">
                <a16:creationId xmlns:a16="http://schemas.microsoft.com/office/drawing/2014/main" id="{E346B375-E97B-4A26-A5C8-80DFAA6C9F8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995940" y="2384821"/>
            <a:ext cx="8640040" cy="1810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571500">
              <a:defRPr>
                <a:solidFill>
                  <a:schemeClr val="tx1"/>
                </a:solidFill>
                <a:latin typeface="Arial" charset="0"/>
              </a:defRPr>
            </a:lvl2pPr>
            <a:lvl3pPr marL="1143000">
              <a:defRPr>
                <a:solidFill>
                  <a:schemeClr val="tx1"/>
                </a:solidFill>
                <a:latin typeface="Arial" charset="0"/>
              </a:defRPr>
            </a:lvl3pPr>
            <a:lvl4pPr marL="1714500">
              <a:defRPr>
                <a:solidFill>
                  <a:schemeClr val="tx1"/>
                </a:solidFill>
                <a:latin typeface="Arial" charset="0"/>
              </a:defRPr>
            </a:lvl4pPr>
            <a:lvl5pPr marL="2286000">
              <a:defRPr>
                <a:solidFill>
                  <a:schemeClr val="tx1"/>
                </a:solidFill>
                <a:latin typeface="Arial" charset="0"/>
              </a:defRPr>
            </a:lvl5pPr>
            <a:lvl6pPr marL="2743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200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657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114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95381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CH" sz="4000" b="0" kern="1200" dirty="0">
                <a:solidFill>
                  <a:schemeClr val="accent1"/>
                </a:solidFill>
                <a:latin typeface="Arial" charset="0"/>
                <a:ea typeface="+mn-ea"/>
                <a:cs typeface="+mn-cs"/>
              </a:rPr>
              <a:t>VZ VermögensZentrum</a:t>
            </a:r>
          </a:p>
          <a:p>
            <a:pPr algn="l" eaLnBrk="0" hangingPunc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</a:pPr>
            <a:r>
              <a:rPr lang="de-CH" sz="4000" b="1" dirty="0">
                <a:solidFill>
                  <a:schemeClr val="accent1"/>
                </a:solidFill>
                <a:latin typeface="+mj-lt"/>
              </a:rPr>
              <a:t>Hier sind Sie gut </a:t>
            </a:r>
            <a:br>
              <a:rPr lang="de-CH" sz="4000" b="1" dirty="0">
                <a:solidFill>
                  <a:schemeClr val="accent1"/>
                </a:solidFill>
                <a:latin typeface="+mj-lt"/>
              </a:rPr>
            </a:br>
            <a:r>
              <a:rPr lang="de-CH" sz="4000" b="1" dirty="0">
                <a:solidFill>
                  <a:schemeClr val="accent1"/>
                </a:solidFill>
                <a:latin typeface="+mj-lt"/>
              </a:rPr>
              <a:t>beraten.</a:t>
            </a:r>
          </a:p>
        </p:txBody>
      </p:sp>
      <p:cxnSp>
        <p:nvCxnSpPr>
          <p:cNvPr id="7" name="Blaue_Linie">
            <a:extLst>
              <a:ext uri="{FF2B5EF4-FFF2-40B4-BE49-F238E27FC236}">
                <a16:creationId xmlns:a16="http://schemas.microsoft.com/office/drawing/2014/main" id="{DB0D55B9-0FB7-47B3-A6C7-8024AA584AD5}"/>
              </a:ext>
            </a:extLst>
          </p:cNvPr>
          <p:cNvCxnSpPr>
            <a:cxnSpLocks/>
          </p:cNvCxnSpPr>
          <p:nvPr userDrawn="1"/>
        </p:nvCxnSpPr>
        <p:spPr>
          <a:xfrm>
            <a:off x="4117109" y="4193986"/>
            <a:ext cx="5245100" cy="2579"/>
          </a:xfrm>
          <a:prstGeom prst="line">
            <a:avLst/>
          </a:prstGeom>
          <a:ln w="15875">
            <a:solidFill>
              <a:srgbClr val="0043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E6BD3DBA-25D0-421D-9C74-257D62F51B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0211" y="4409131"/>
            <a:ext cx="701998" cy="702000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C70724E8-B82F-467E-AB0D-634FEBBFA14D}"/>
              </a:ext>
            </a:extLst>
          </p:cNvPr>
          <p:cNvSpPr/>
          <p:nvPr userDrawn="1"/>
        </p:nvSpPr>
        <p:spPr>
          <a:xfrm>
            <a:off x="4025511" y="4333407"/>
            <a:ext cx="5356225" cy="86177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CH" sz="1000" dirty="0">
                <a:solidFill>
                  <a:srgbClr val="565656"/>
                </a:solidFill>
              </a:rPr>
              <a:t>VZ VermögensZentrum AG</a:t>
            </a:r>
            <a:br>
              <a:rPr lang="de-CH" sz="1000" dirty="0">
                <a:solidFill>
                  <a:srgbClr val="565656"/>
                </a:solidFill>
              </a:rPr>
            </a:br>
            <a:endParaRPr lang="de-CH" sz="1000" dirty="0">
              <a:solidFill>
                <a:srgbClr val="565656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de-CH" sz="1000" dirty="0">
              <a:solidFill>
                <a:srgbClr val="565656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de-CH" sz="1000" dirty="0">
              <a:solidFill>
                <a:srgbClr val="565656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CH" sz="1000" dirty="0">
                <a:solidFill>
                  <a:srgbClr val="565656"/>
                </a:solidFill>
              </a:rPr>
              <a:t>www.vermoegenszentrum.ch</a:t>
            </a:r>
          </a:p>
        </p:txBody>
      </p:sp>
    </p:spTree>
    <p:extLst>
      <p:ext uri="{BB962C8B-B14F-4D97-AF65-F5344CB8AC3E}">
        <p14:creationId xmlns:p14="http://schemas.microsoft.com/office/powerpoint/2010/main" val="14084621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16">
            <a:extLst>
              <a:ext uri="{FF2B5EF4-FFF2-40B4-BE49-F238E27FC236}">
                <a16:creationId xmlns:a16="http://schemas.microsoft.com/office/drawing/2014/main" id="{551731B2-16DD-42B7-8EEF-58DF36BF9B41}"/>
              </a:ext>
            </a:extLst>
          </p:cNvPr>
          <p:cNvCxnSpPr>
            <a:cxnSpLocks/>
          </p:cNvCxnSpPr>
          <p:nvPr userDrawn="1"/>
        </p:nvCxnSpPr>
        <p:spPr>
          <a:xfrm>
            <a:off x="269443" y="959124"/>
            <a:ext cx="1289889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Textfeld 292">
            <a:extLst>
              <a:ext uri="{FF2B5EF4-FFF2-40B4-BE49-F238E27FC236}">
                <a16:creationId xmlns:a16="http://schemas.microsoft.com/office/drawing/2014/main" id="{D8835750-A9E5-4171-8F51-20A2C50EC67D}"/>
              </a:ext>
            </a:extLst>
          </p:cNvPr>
          <p:cNvSpPr txBox="1"/>
          <p:nvPr userDrawn="1"/>
        </p:nvSpPr>
        <p:spPr>
          <a:xfrm>
            <a:off x="257494" y="7242862"/>
            <a:ext cx="2213023" cy="25304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CH" sz="1004" dirty="0">
                <a:latin typeface="+mn-lt"/>
              </a:rPr>
              <a:t>© VZ</a:t>
            </a:r>
          </a:p>
        </p:txBody>
      </p:sp>
      <p:sp>
        <p:nvSpPr>
          <p:cNvPr id="294" name="Fußzeilenplatzhalter 4">
            <a:extLst>
              <a:ext uri="{FF2B5EF4-FFF2-40B4-BE49-F238E27FC236}">
                <a16:creationId xmlns:a16="http://schemas.microsoft.com/office/drawing/2014/main" id="{1D015862-B671-4D47-9F39-3748CB1A94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4792" y="7243874"/>
            <a:ext cx="5101066" cy="1812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endParaRPr lang="de-CH" dirty="0"/>
          </a:p>
        </p:txBody>
      </p:sp>
      <p:sp>
        <p:nvSpPr>
          <p:cNvPr id="295" name="Foliennummernplatzhalter 5">
            <a:extLst>
              <a:ext uri="{FF2B5EF4-FFF2-40B4-BE49-F238E27FC236}">
                <a16:creationId xmlns:a16="http://schemas.microsoft.com/office/drawing/2014/main" id="{60F603D5-F013-4DAD-A983-44BB3C869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672101" y="7242862"/>
            <a:ext cx="49624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4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04643FF1-1918-4E1A-96F4-73A76701DE57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533F951-6C39-4975-855B-98D801F27700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4340" y="215900"/>
            <a:ext cx="594000" cy="59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537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8" r:id="rId2"/>
    <p:sldLayoutId id="2147483887" r:id="rId3"/>
    <p:sldLayoutId id="2147483897" r:id="rId4"/>
    <p:sldLayoutId id="2147483883" r:id="rId5"/>
    <p:sldLayoutId id="2147483884" r:id="rId6"/>
    <p:sldLayoutId id="2147483885" r:id="rId7"/>
    <p:sldLayoutId id="2147483886" r:id="rId8"/>
    <p:sldLayoutId id="2147483896" r:id="rId9"/>
  </p:sldLayoutIdLst>
  <p:hf hdr="0" ftr="0" dt="0"/>
  <p:txStyles>
    <p:titleStyle>
      <a:lvl1pPr algn="l" defTabSz="1225162" rtl="0" eaLnBrk="1" latinLnBrk="0" hangingPunct="1">
        <a:spcBef>
          <a:spcPct val="0"/>
        </a:spcBef>
        <a:buNone/>
        <a:defRPr sz="1968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221498" rtl="0" eaLnBrk="1" latinLnBrk="0" hangingPunct="1">
        <a:spcBef>
          <a:spcPts val="370"/>
        </a:spcBef>
        <a:buFont typeface="Arial" pitchFamily="34" charset="0"/>
        <a:buNone/>
        <a:defRPr sz="1231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21498" indent="-222697" algn="l" defTabSz="221498" rtl="0" eaLnBrk="1" latinLnBrk="0" hangingPunct="1">
        <a:spcBef>
          <a:spcPts val="370"/>
        </a:spcBef>
        <a:buFont typeface="Arial" pitchFamily="34" charset="0"/>
        <a:buChar char="•"/>
        <a:defRPr sz="1231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42995" indent="-222697" algn="l" defTabSz="221498" rtl="0" eaLnBrk="1" latinLnBrk="0" hangingPunct="1">
        <a:spcBef>
          <a:spcPts val="370"/>
        </a:spcBef>
        <a:buFont typeface="Arial" pitchFamily="34" charset="0"/>
        <a:buChar char="–"/>
        <a:defRPr sz="1231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64493" indent="-222697" algn="l" defTabSz="221498" rtl="0" eaLnBrk="1" latinLnBrk="0" hangingPunct="1">
        <a:spcBef>
          <a:spcPts val="370"/>
        </a:spcBef>
        <a:buFont typeface="Arial" pitchFamily="34" charset="0"/>
        <a:buChar char="•"/>
        <a:defRPr sz="1231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85990" indent="-222697" algn="l" defTabSz="221498" rtl="0" eaLnBrk="1" latinLnBrk="0" hangingPunct="1">
        <a:spcBef>
          <a:spcPts val="370"/>
        </a:spcBef>
        <a:buFont typeface="Arial" pitchFamily="34" charset="0"/>
        <a:buChar char="–"/>
        <a:defRPr sz="1231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3369194" indent="-306292" algn="l" defTabSz="1225162" rtl="0" eaLnBrk="1" latinLnBrk="0" hangingPunct="1">
        <a:spcBef>
          <a:spcPct val="20000"/>
        </a:spcBef>
        <a:buFont typeface="Arial" pitchFamily="34" charset="0"/>
        <a:buChar char="•"/>
        <a:defRPr sz="2707" kern="1200">
          <a:solidFill>
            <a:schemeClr val="tx1"/>
          </a:solidFill>
          <a:latin typeface="+mn-lt"/>
          <a:ea typeface="+mn-ea"/>
          <a:cs typeface="+mn-cs"/>
        </a:defRPr>
      </a:lvl6pPr>
      <a:lvl7pPr marL="3981774" indent="-306292" algn="l" defTabSz="1225162" rtl="0" eaLnBrk="1" latinLnBrk="0" hangingPunct="1">
        <a:spcBef>
          <a:spcPct val="20000"/>
        </a:spcBef>
        <a:buFont typeface="Arial" pitchFamily="34" charset="0"/>
        <a:buChar char="•"/>
        <a:defRPr sz="2707" kern="1200">
          <a:solidFill>
            <a:schemeClr val="tx1"/>
          </a:solidFill>
          <a:latin typeface="+mn-lt"/>
          <a:ea typeface="+mn-ea"/>
          <a:cs typeface="+mn-cs"/>
        </a:defRPr>
      </a:lvl7pPr>
      <a:lvl8pPr marL="4594355" indent="-306292" algn="l" defTabSz="1225162" rtl="0" eaLnBrk="1" latinLnBrk="0" hangingPunct="1">
        <a:spcBef>
          <a:spcPct val="20000"/>
        </a:spcBef>
        <a:buFont typeface="Arial" pitchFamily="34" charset="0"/>
        <a:buChar char="•"/>
        <a:defRPr sz="2707" kern="1200">
          <a:solidFill>
            <a:schemeClr val="tx1"/>
          </a:solidFill>
          <a:latin typeface="+mn-lt"/>
          <a:ea typeface="+mn-ea"/>
          <a:cs typeface="+mn-cs"/>
        </a:defRPr>
      </a:lvl8pPr>
      <a:lvl9pPr marL="5206935" indent="-306292" algn="l" defTabSz="1225162" rtl="0" eaLnBrk="1" latinLnBrk="0" hangingPunct="1">
        <a:spcBef>
          <a:spcPct val="20000"/>
        </a:spcBef>
        <a:buFont typeface="Arial" pitchFamily="34" charset="0"/>
        <a:buChar char="•"/>
        <a:defRPr sz="270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25162" rtl="0" eaLnBrk="1" latinLnBrk="0" hangingPunct="1">
        <a:defRPr sz="2461" kern="1200">
          <a:solidFill>
            <a:schemeClr val="tx1"/>
          </a:solidFill>
          <a:latin typeface="+mn-lt"/>
          <a:ea typeface="+mn-ea"/>
          <a:cs typeface="+mn-cs"/>
        </a:defRPr>
      </a:lvl1pPr>
      <a:lvl2pPr marL="612580" algn="l" defTabSz="1225162" rtl="0" eaLnBrk="1" latinLnBrk="0" hangingPunct="1">
        <a:defRPr sz="2461" kern="1200">
          <a:solidFill>
            <a:schemeClr val="tx1"/>
          </a:solidFill>
          <a:latin typeface="+mn-lt"/>
          <a:ea typeface="+mn-ea"/>
          <a:cs typeface="+mn-cs"/>
        </a:defRPr>
      </a:lvl2pPr>
      <a:lvl3pPr marL="1225162" algn="l" defTabSz="1225162" rtl="0" eaLnBrk="1" latinLnBrk="0" hangingPunct="1">
        <a:defRPr sz="2461" kern="1200">
          <a:solidFill>
            <a:schemeClr val="tx1"/>
          </a:solidFill>
          <a:latin typeface="+mn-lt"/>
          <a:ea typeface="+mn-ea"/>
          <a:cs typeface="+mn-cs"/>
        </a:defRPr>
      </a:lvl3pPr>
      <a:lvl4pPr marL="1837742" algn="l" defTabSz="1225162" rtl="0" eaLnBrk="1" latinLnBrk="0" hangingPunct="1">
        <a:defRPr sz="2461" kern="1200">
          <a:solidFill>
            <a:schemeClr val="tx1"/>
          </a:solidFill>
          <a:latin typeface="+mn-lt"/>
          <a:ea typeface="+mn-ea"/>
          <a:cs typeface="+mn-cs"/>
        </a:defRPr>
      </a:lvl4pPr>
      <a:lvl5pPr marL="2450322" algn="l" defTabSz="1225162" rtl="0" eaLnBrk="1" latinLnBrk="0" hangingPunct="1">
        <a:defRPr sz="2461" kern="1200">
          <a:solidFill>
            <a:schemeClr val="tx1"/>
          </a:solidFill>
          <a:latin typeface="+mn-lt"/>
          <a:ea typeface="+mn-ea"/>
          <a:cs typeface="+mn-cs"/>
        </a:defRPr>
      </a:lvl5pPr>
      <a:lvl6pPr marL="3062904" algn="l" defTabSz="1225162" rtl="0" eaLnBrk="1" latinLnBrk="0" hangingPunct="1">
        <a:defRPr sz="2461" kern="1200">
          <a:solidFill>
            <a:schemeClr val="tx1"/>
          </a:solidFill>
          <a:latin typeface="+mn-lt"/>
          <a:ea typeface="+mn-ea"/>
          <a:cs typeface="+mn-cs"/>
        </a:defRPr>
      </a:lvl6pPr>
      <a:lvl7pPr marL="3675484" algn="l" defTabSz="1225162" rtl="0" eaLnBrk="1" latinLnBrk="0" hangingPunct="1">
        <a:defRPr sz="2461" kern="1200">
          <a:solidFill>
            <a:schemeClr val="tx1"/>
          </a:solidFill>
          <a:latin typeface="+mn-lt"/>
          <a:ea typeface="+mn-ea"/>
          <a:cs typeface="+mn-cs"/>
        </a:defRPr>
      </a:lvl7pPr>
      <a:lvl8pPr marL="4288066" algn="l" defTabSz="1225162" rtl="0" eaLnBrk="1" latinLnBrk="0" hangingPunct="1">
        <a:defRPr sz="2461" kern="1200">
          <a:solidFill>
            <a:schemeClr val="tx1"/>
          </a:solidFill>
          <a:latin typeface="+mn-lt"/>
          <a:ea typeface="+mn-ea"/>
          <a:cs typeface="+mn-cs"/>
        </a:defRPr>
      </a:lvl8pPr>
      <a:lvl9pPr marL="4900646" algn="l" defTabSz="1225162" rtl="0" eaLnBrk="1" latinLnBrk="0" hangingPunct="1">
        <a:defRPr sz="24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8290" userDrawn="1">
          <p15:clr>
            <a:srgbClr val="F26B43"/>
          </p15:clr>
        </p15:guide>
        <p15:guide id="4" pos="169" userDrawn="1">
          <p15:clr>
            <a:srgbClr val="F26B43"/>
          </p15:clr>
        </p15:guide>
        <p15:guide id="5" orient="horz" pos="4626" userDrawn="1">
          <p15:clr>
            <a:srgbClr val="F26B43"/>
          </p15:clr>
        </p15:guide>
        <p15:guide id="6" pos="1384" userDrawn="1">
          <p15:clr>
            <a:srgbClr val="F26B43"/>
          </p15:clr>
        </p15:guide>
        <p15:guide id="7" pos="689" userDrawn="1">
          <p15:clr>
            <a:srgbClr val="F26B43"/>
          </p15:clr>
        </p15:guide>
        <p15:guide id="8" pos="861" userDrawn="1">
          <p15:clr>
            <a:srgbClr val="F26B43"/>
          </p15:clr>
        </p15:guide>
        <p15:guide id="9" pos="1553" userDrawn="1">
          <p15:clr>
            <a:srgbClr val="F26B43"/>
          </p15:clr>
        </p15:guide>
        <p15:guide id="10" pos="2072" userDrawn="1">
          <p15:clr>
            <a:srgbClr val="F26B43"/>
          </p15:clr>
        </p15:guide>
        <p15:guide id="11" pos="2245" userDrawn="1">
          <p15:clr>
            <a:srgbClr val="F26B43"/>
          </p15:clr>
        </p15:guide>
        <p15:guide id="12" pos="2762" userDrawn="1">
          <p15:clr>
            <a:srgbClr val="F26B43"/>
          </p15:clr>
        </p15:guide>
        <p15:guide id="13" pos="2935" userDrawn="1">
          <p15:clr>
            <a:srgbClr val="F26B43"/>
          </p15:clr>
        </p15:guide>
        <p15:guide id="14" pos="3455" userDrawn="1">
          <p15:clr>
            <a:srgbClr val="F26B43"/>
          </p15:clr>
        </p15:guide>
        <p15:guide id="15" pos="3626" userDrawn="1">
          <p15:clr>
            <a:srgbClr val="F26B43"/>
          </p15:clr>
        </p15:guide>
        <p15:guide id="16" pos="4145" userDrawn="1">
          <p15:clr>
            <a:srgbClr val="F26B43"/>
          </p15:clr>
        </p15:guide>
        <p15:guide id="17" pos="4319" userDrawn="1">
          <p15:clr>
            <a:srgbClr val="F26B43"/>
          </p15:clr>
        </p15:guide>
        <p15:guide id="18" pos="4837" userDrawn="1">
          <p15:clr>
            <a:srgbClr val="F26B43"/>
          </p15:clr>
        </p15:guide>
        <p15:guide id="19" pos="5008" userDrawn="1">
          <p15:clr>
            <a:srgbClr val="F26B43"/>
          </p15:clr>
        </p15:guide>
        <p15:guide id="20" pos="5527" userDrawn="1">
          <p15:clr>
            <a:srgbClr val="F26B43"/>
          </p15:clr>
        </p15:guide>
        <p15:guide id="21" pos="5698" userDrawn="1">
          <p15:clr>
            <a:srgbClr val="F26B43"/>
          </p15:clr>
        </p15:guide>
        <p15:guide id="22" pos="6217" userDrawn="1">
          <p15:clr>
            <a:srgbClr val="F26B43"/>
          </p15:clr>
        </p15:guide>
        <p15:guide id="23" pos="6389" userDrawn="1">
          <p15:clr>
            <a:srgbClr val="F26B43"/>
          </p15:clr>
        </p15:guide>
        <p15:guide id="24" pos="6909" userDrawn="1">
          <p15:clr>
            <a:srgbClr val="F26B43"/>
          </p15:clr>
        </p15:guide>
        <p15:guide id="25" pos="7079" userDrawn="1">
          <p15:clr>
            <a:srgbClr val="F26B43"/>
          </p15:clr>
        </p15:guide>
        <p15:guide id="26" pos="7598" userDrawn="1">
          <p15:clr>
            <a:srgbClr val="F26B43"/>
          </p15:clr>
        </p15:guide>
        <p15:guide id="27" pos="7771" userDrawn="1">
          <p15:clr>
            <a:srgbClr val="F26B43"/>
          </p15:clr>
        </p15:guide>
        <p15:guide id="29" orient="horz" pos="508" userDrawn="1">
          <p15:clr>
            <a:srgbClr val="F26B43"/>
          </p15:clr>
        </p15:guide>
        <p15:guide id="30" orient="horz" pos="770" userDrawn="1">
          <p15:clr>
            <a:srgbClr val="F26B43"/>
          </p15:clr>
        </p15:guide>
        <p15:guide id="31" orient="horz" pos="906" userDrawn="1">
          <p15:clr>
            <a:srgbClr val="F26B43"/>
          </p15:clr>
        </p15:guide>
        <p15:guide id="32" orient="horz" pos="1156" userDrawn="1">
          <p15:clr>
            <a:srgbClr val="F26B43"/>
          </p15:clr>
        </p15:guide>
        <p15:guide id="33" orient="horz" pos="1292" userDrawn="1">
          <p15:clr>
            <a:srgbClr val="F26B43"/>
          </p15:clr>
        </p15:guide>
        <p15:guide id="34" orient="horz" pos="1542" userDrawn="1">
          <p15:clr>
            <a:srgbClr val="F26B43"/>
          </p15:clr>
        </p15:guide>
        <p15:guide id="35" orient="horz" pos="1678" userDrawn="1">
          <p15:clr>
            <a:srgbClr val="F26B43"/>
          </p15:clr>
        </p15:guide>
        <p15:guide id="36" orient="horz" pos="1928" userDrawn="1">
          <p15:clr>
            <a:srgbClr val="F26B43"/>
          </p15:clr>
        </p15:guide>
        <p15:guide id="37" orient="horz" pos="2064" userDrawn="1">
          <p15:clr>
            <a:srgbClr val="F26B43"/>
          </p15:clr>
        </p15:guide>
        <p15:guide id="38" orient="horz" pos="2312" userDrawn="1">
          <p15:clr>
            <a:srgbClr val="F26B43"/>
          </p15:clr>
        </p15:guide>
        <p15:guide id="39" orient="horz" pos="2450" userDrawn="1">
          <p15:clr>
            <a:srgbClr val="F26B43"/>
          </p15:clr>
        </p15:guide>
        <p15:guide id="40" orient="horz" pos="2698" userDrawn="1">
          <p15:clr>
            <a:srgbClr val="F26B43"/>
          </p15:clr>
        </p15:guide>
        <p15:guide id="41" orient="horz" pos="2834" userDrawn="1">
          <p15:clr>
            <a:srgbClr val="F26B43"/>
          </p15:clr>
        </p15:guide>
        <p15:guide id="42" orient="horz" pos="3084" userDrawn="1">
          <p15:clr>
            <a:srgbClr val="F26B43"/>
          </p15:clr>
        </p15:guide>
        <p15:guide id="43" orient="horz" pos="3220" userDrawn="1">
          <p15:clr>
            <a:srgbClr val="F26B43"/>
          </p15:clr>
        </p15:guide>
        <p15:guide id="44" orient="horz" pos="3470" userDrawn="1">
          <p15:clr>
            <a:srgbClr val="F26B43"/>
          </p15:clr>
        </p15:guide>
        <p15:guide id="45" orient="horz" pos="3606" userDrawn="1">
          <p15:clr>
            <a:srgbClr val="F26B43"/>
          </p15:clr>
        </p15:guide>
        <p15:guide id="46" orient="horz" pos="3856" userDrawn="1">
          <p15:clr>
            <a:srgbClr val="F26B43"/>
          </p15:clr>
        </p15:guide>
        <p15:guide id="47" orient="horz" pos="3992" userDrawn="1">
          <p15:clr>
            <a:srgbClr val="F26B43"/>
          </p15:clr>
        </p15:guide>
        <p15:guide id="48" orient="horz" pos="4240" userDrawn="1">
          <p15:clr>
            <a:srgbClr val="F26B43"/>
          </p15:clr>
        </p15:guide>
        <p15:guide id="49" orient="horz" pos="43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16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17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853D35F-6AEE-46FF-89E2-2E0234D5E5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CH" dirty="0"/>
              <a:t>8002 Zürich, 15.04.2024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791D228-1567-4FAC-86A9-785E108111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CH" dirty="0"/>
              <a:t>Elion Bajrami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53BDC96A-234A-4B3C-899C-49590C7428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rstellen einer Adminmaske zur Erfassung von Standardwer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51AED8E-9BB7-4EF0-9F50-2DE8B7E263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66874" y="2690978"/>
            <a:ext cx="4117917" cy="280608"/>
          </a:xfrm>
        </p:spPr>
        <p:txBody>
          <a:bodyPr/>
          <a:lstStyle/>
          <a:p>
            <a:r>
              <a:rPr lang="de-CH" dirty="0"/>
              <a:t>IPA-Präsentation</a:t>
            </a:r>
          </a:p>
        </p:txBody>
      </p:sp>
    </p:spTree>
    <p:extLst>
      <p:ext uri="{BB962C8B-B14F-4D97-AF65-F5344CB8AC3E}">
        <p14:creationId xmlns:p14="http://schemas.microsoft.com/office/powerpoint/2010/main" val="3389127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DD9B7B-273D-B6C3-6443-B4CD4E79E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urchfüh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50A1D77-3378-FC5A-3B5E-88C9976DA3B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CH" b="1" dirty="0"/>
              <a:t>Backend</a:t>
            </a:r>
          </a:p>
          <a:p>
            <a:endParaRPr lang="de-CH" b="1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A6E573-CEBF-06EC-1152-1E61A7883FD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Realisier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6DED2F-AD93-CC8C-A592-70402F9E29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10</a:t>
            </a:fld>
            <a:endParaRPr lang="de-CH" dirty="0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C9CC0F35-740A-667A-2AFE-9EE0DA6345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8848742"/>
              </p:ext>
            </p:extLst>
          </p:nvPr>
        </p:nvGraphicFramePr>
        <p:xfrm>
          <a:off x="2644171" y="2771725"/>
          <a:ext cx="8152333" cy="38507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26" name="Picture 2" descr="Backend - Free computer icons">
            <a:extLst>
              <a:ext uri="{FF2B5EF4-FFF2-40B4-BE49-F238E27FC236}">
                <a16:creationId xmlns:a16="http://schemas.microsoft.com/office/drawing/2014/main" id="{84FEB1B8-7796-9986-8FBF-9072D4B585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49" y="5477210"/>
            <a:ext cx="1469689" cy="1469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15989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A74DEA-0F77-D6AE-A9F6-24ADCF1287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F85608-8E7E-F62A-B961-8B62D19076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urchfüh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73EF5F8-D5C3-B067-9A24-7CC85AF466E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CH" b="1" dirty="0"/>
              <a:t>Frontend</a:t>
            </a:r>
          </a:p>
          <a:p>
            <a:endParaRPr lang="de-CH" b="1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8554266-0B66-07F4-C108-0AF26121EB0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Realisier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3838589-5EED-0129-9BD7-55E0B3E74A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11</a:t>
            </a:fld>
            <a:endParaRPr lang="de-CH" dirty="0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E9C72156-CC69-9C53-6A66-A236F1C0AF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7670976"/>
              </p:ext>
            </p:extLst>
          </p:nvPr>
        </p:nvGraphicFramePr>
        <p:xfrm>
          <a:off x="1139266" y="2555701"/>
          <a:ext cx="11161241" cy="410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050" name="Picture 2" descr="Front end - Free computer icons">
            <a:extLst>
              <a:ext uri="{FF2B5EF4-FFF2-40B4-BE49-F238E27FC236}">
                <a16:creationId xmlns:a16="http://schemas.microsoft.com/office/drawing/2014/main" id="{26FE249A-56A5-BBF9-E9DB-E980EB4770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443" y="5444602"/>
            <a:ext cx="1502297" cy="1502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63476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D0F9FD-C591-F0FA-C423-7BD53EBC79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0B72BD-F1BD-937B-410B-601BC3765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urchfüh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7CBD1F-25EB-553B-94A2-F7E3EAEDC87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algn="ctr"/>
            <a:r>
              <a:rPr lang="de-CH" dirty="0"/>
              <a:t>Testkonzept &amp; Testprotokol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AA319EC-3243-C852-118C-5DCDF9EBC80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Kontrollier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5C3FC4-E17A-52B7-BACD-8C43E48D19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12</a:t>
            </a:fld>
            <a:endParaRPr lang="de-CH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936E715-C88D-3976-1982-E3532821D4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5921" y="2771725"/>
            <a:ext cx="3927932" cy="3953563"/>
          </a:xfrm>
          <a:prstGeom prst="rect">
            <a:avLst/>
          </a:prstGeom>
        </p:spPr>
      </p:pic>
      <p:pic>
        <p:nvPicPr>
          <p:cNvPr id="3074" name="Picture 2" descr="Prüfen - Kostenlose ui-Icons">
            <a:extLst>
              <a:ext uri="{FF2B5EF4-FFF2-40B4-BE49-F238E27FC236}">
                <a16:creationId xmlns:a16="http://schemas.microsoft.com/office/drawing/2014/main" id="{C2C98D4A-29D0-E2B7-5C7C-7E864BD090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03903" y="6089034"/>
            <a:ext cx="854225" cy="854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67885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904338-DEA8-64B8-0707-3DFC07596A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994893-13AF-17AE-792A-4706954A6F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urchfüh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DAAFC0-C491-D0D9-BEF3-EC94899F4F9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Funktionalitäte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Dokumentatio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Fazi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6345A3A-3D04-4BD1-CEDF-76E3B4B5FEF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Auswer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D32E62C-C3FB-CD8F-EEB3-92046DD223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13</a:t>
            </a:fld>
            <a:endParaRPr lang="de-CH" dirty="0"/>
          </a:p>
        </p:txBody>
      </p:sp>
      <p:pic>
        <p:nvPicPr>
          <p:cNvPr id="6" name="Picture 2" descr="Auswertung - Kostenlose geschäft-Icons">
            <a:extLst>
              <a:ext uri="{FF2B5EF4-FFF2-40B4-BE49-F238E27FC236}">
                <a16:creationId xmlns:a16="http://schemas.microsoft.com/office/drawing/2014/main" id="{27420C7F-E962-8AA6-C683-5587DD1F30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28104">
            <a:off x="5046661" y="2819460"/>
            <a:ext cx="3346450" cy="3346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22914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DD339D-1A62-6E81-EAA8-1BF606A6C5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C19348-9A64-BB14-96B1-B384164988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eflex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8877DA-B5AA-4735-2567-84D484DDB0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14</a:t>
            </a:fld>
            <a:endParaRPr lang="de-CH" dirty="0"/>
          </a:p>
        </p:txBody>
      </p:sp>
      <p:pic>
        <p:nvPicPr>
          <p:cNvPr id="4100" name="Picture 4" descr="Rückblick - Kostenlose geschäft und finanzen-Icons">
            <a:extLst>
              <a:ext uri="{FF2B5EF4-FFF2-40B4-BE49-F238E27FC236}">
                <a16:creationId xmlns:a16="http://schemas.microsoft.com/office/drawing/2014/main" id="{25DC386C-684B-BB3E-B21F-756136C004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487" y="1691605"/>
            <a:ext cx="4876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13194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20096-0D16-66D6-8940-16605835C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eflex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ED7D193-13A8-04D6-54A2-9CCB4FA4862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Das Projekt erfüllt alle Anforderunge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Das Backend konnte mehrheitlich schnell und effizient umgesetzt werde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Dokumentation &amp; Arbeitsjournal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de-CH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708A9D8-17B3-050C-E37E-2A089A161DDB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Entscheidungsphase unterschätzt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Package für die Konvertierung von RTF- und HTML-Texte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Darstellung bei grösseren Daten dauert zu lange / Spinn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15276A-AB23-7D0C-0EE9-AFAD12994A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15</a:t>
            </a:fld>
            <a:endParaRPr lang="de-CH" dirty="0"/>
          </a:p>
        </p:txBody>
      </p:sp>
      <p:pic>
        <p:nvPicPr>
          <p:cNvPr id="6150" name="Picture 6" descr="Thumbs down Special Lineal color icon">
            <a:extLst>
              <a:ext uri="{FF2B5EF4-FFF2-40B4-BE49-F238E27FC236}">
                <a16:creationId xmlns:a16="http://schemas.microsoft.com/office/drawing/2014/main" id="{25223746-AF92-5A3E-CD5E-779116BC49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7225" y="4276148"/>
            <a:ext cx="1862337" cy="1862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Thumbs down Special Lineal color icon">
            <a:extLst>
              <a:ext uri="{FF2B5EF4-FFF2-40B4-BE49-F238E27FC236}">
                <a16:creationId xmlns:a16="http://schemas.microsoft.com/office/drawing/2014/main" id="{80FB922C-930A-4240-9641-6EB984DF0B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2493069" y="4206171"/>
            <a:ext cx="1862337" cy="1862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56644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3BE2D5-DAF9-7474-37C9-7BCAFB7C3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eflex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4A639C-65F0-6097-B80A-7F0258C6D12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Spinner implementiere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Berechtigungskonzept implementiere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Deployment auf Integration &amp; Produktion Umgebung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Webapplikation an Business über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1F96833-05EC-9E87-9448-F71EAAB67F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Zukunftsausblick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A9E0B05-5870-2947-9AA1-064588937C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16</a:t>
            </a:fld>
            <a:endParaRPr lang="de-CH" dirty="0"/>
          </a:p>
        </p:txBody>
      </p:sp>
      <p:pic>
        <p:nvPicPr>
          <p:cNvPr id="7170" name="Picture 2" descr="Zukunft - Kostenlose zeit und datum-Icons">
            <a:extLst>
              <a:ext uri="{FF2B5EF4-FFF2-40B4-BE49-F238E27FC236}">
                <a16:creationId xmlns:a16="http://schemas.microsoft.com/office/drawing/2014/main" id="{83D20981-DA32-E9FC-0255-198AC089CF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7799" y="5156570"/>
            <a:ext cx="1790329" cy="1790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94470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BE4FD0-E888-9D99-89C8-73C028E55C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Fra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CABD8E6-83DC-EA3F-A914-2116ED551C3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5FF9A76-A46D-A72D-B931-88F17A4EC0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17</a:t>
            </a:fld>
            <a:endParaRPr lang="de-CH" dirty="0"/>
          </a:p>
        </p:txBody>
      </p:sp>
      <p:pic>
        <p:nvPicPr>
          <p:cNvPr id="8194" name="Picture 2" descr="Frage - Kostenlose zeichen-Icons">
            <a:extLst>
              <a:ext uri="{FF2B5EF4-FFF2-40B4-BE49-F238E27FC236}">
                <a16:creationId xmlns:a16="http://schemas.microsoft.com/office/drawing/2014/main" id="{E72B4AC2-4CCF-608D-C2F9-0FD0491DE8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2206" y="2627709"/>
            <a:ext cx="3984247" cy="3984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32271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A34E2D0-F24B-4CE4-AD19-773C637A50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noFill/>
        </p:spPr>
        <p:txBody>
          <a:bodyPr/>
          <a:lstStyle/>
          <a:p>
            <a:r>
              <a:rPr lang="de-CH" dirty="0"/>
              <a:t>Einleitu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889892B-2605-4507-96DF-9A4AB4801F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CH" dirty="0"/>
              <a:t>Durchführu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FCAF4FA-3DDC-4806-8092-59F5F98AB9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Reflexi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24EE356-EA35-41E3-9FC3-1BB08A5D63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Inhaltsverzeichni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8CD38D8-01B0-4342-B241-B202A06FDF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197879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06B9AD-8AE3-10B3-1033-6B59A9C0E1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D6DCB3-AF37-AEB1-5212-3654CA3C0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inleit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7EBABA8-52AC-B885-AD5F-EAA67E0ED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3</a:t>
            </a:fld>
            <a:endParaRPr lang="de-CH" dirty="0"/>
          </a:p>
        </p:txBody>
      </p:sp>
      <p:pic>
        <p:nvPicPr>
          <p:cNvPr id="1026" name="Picture 2" descr="Anleitung - Download kostenlose symbole">
            <a:extLst>
              <a:ext uri="{FF2B5EF4-FFF2-40B4-BE49-F238E27FC236}">
                <a16:creationId xmlns:a16="http://schemas.microsoft.com/office/drawing/2014/main" id="{6AA70AFA-CAE8-A983-8103-DEF31F5A43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1507" y="1907629"/>
            <a:ext cx="4516760" cy="4516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28801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655BF5-AEC9-3882-9DA9-4FD454384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inleit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CF8A86-58F3-B700-1667-010A5E72B51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Gesetzlich definierte Parameter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Standardwerte via Datachange anpasse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 err="1"/>
              <a:t>Adminmaske</a:t>
            </a:r>
            <a:endParaRPr lang="de-CH" dirty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Bestehende Web-Applikation um neues Modul erweiter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Bestehende Backend-Applikation um die Endpunkte erweiter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8A61A9-F895-1915-84AB-4A8A6761900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Ausgangslag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0C853B-4951-DFF9-322A-3B3DE0E170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4</a:t>
            </a:fld>
            <a:endParaRPr lang="de-CH" dirty="0"/>
          </a:p>
        </p:txBody>
      </p:sp>
      <p:pic>
        <p:nvPicPr>
          <p:cNvPr id="2050" name="Picture 2" descr="Gesetz - Kostenlose sicherheit-Icons">
            <a:extLst>
              <a:ext uri="{FF2B5EF4-FFF2-40B4-BE49-F238E27FC236}">
                <a16:creationId xmlns:a16="http://schemas.microsoft.com/office/drawing/2014/main" id="{3A456E6B-2890-1951-10FE-0DD7C8C854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0142" y="4801194"/>
            <a:ext cx="1358281" cy="1358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Base, change, data, database, refresh, storage, update icon - Download on  Iconfinder">
            <a:extLst>
              <a:ext uri="{FF2B5EF4-FFF2-40B4-BE49-F238E27FC236}">
                <a16:creationId xmlns:a16="http://schemas.microsoft.com/office/drawing/2014/main" id="{6E5CDFA9-CC49-EE17-4E44-9B895FD4D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9135" y="4761952"/>
            <a:ext cx="1358281" cy="1358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Software developer - Free computer icons">
            <a:extLst>
              <a:ext uri="{FF2B5EF4-FFF2-40B4-BE49-F238E27FC236}">
                <a16:creationId xmlns:a16="http://schemas.microsoft.com/office/drawing/2014/main" id="{3D21E2C0-EC43-D94E-8456-C48F0BE5BF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8129" y="4801193"/>
            <a:ext cx="1358282" cy="1358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Erweitern - Kostenlose pfeile-Icons">
            <a:extLst>
              <a:ext uri="{FF2B5EF4-FFF2-40B4-BE49-F238E27FC236}">
                <a16:creationId xmlns:a16="http://schemas.microsoft.com/office/drawing/2014/main" id="{FAB6A135-1097-051D-719A-C0733CF79C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7122" y="4964731"/>
            <a:ext cx="1155502" cy="1155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84412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0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0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0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0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ECBF36-25E4-900A-7C02-55BE8FBD8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inleit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B34968C-6D33-2756-4D15-D15F116A2FE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In der Adminmakse sollen 3 Features angeboten werden: Auflistungen, Standardwerte und Erläuterungstext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Auflistungen &amp; Standardwerte</a:t>
            </a:r>
          </a:p>
          <a:p>
            <a:pPr marL="507248" lvl="1" indent="-285750">
              <a:buFont typeface="Courier New" panose="02070309020205020404" pitchFamily="49" charset="0"/>
              <a:buChar char="o"/>
            </a:pPr>
            <a:r>
              <a:rPr lang="de-CH" dirty="0"/>
              <a:t>Die Typen werden in einem </a:t>
            </a:r>
            <a:r>
              <a:rPr lang="de-CH" dirty="0" err="1"/>
              <a:t>SideNav</a:t>
            </a:r>
            <a:r>
              <a:rPr lang="de-CH" dirty="0"/>
              <a:t> angezeigt</a:t>
            </a:r>
          </a:p>
          <a:p>
            <a:pPr marL="507248" lvl="1" indent="-285750">
              <a:buFont typeface="Courier New" panose="02070309020205020404" pitchFamily="49" charset="0"/>
              <a:buChar char="o"/>
            </a:pPr>
            <a:r>
              <a:rPr lang="de-CH" dirty="0"/>
              <a:t>Bei der Auswahl eines Typen werden alle dazugehörigen Auflistungen/Standardwerte angezeigt</a:t>
            </a:r>
          </a:p>
          <a:p>
            <a:pPr marL="507248" lvl="1" indent="-285750">
              <a:buFont typeface="Courier New" panose="02070309020205020404" pitchFamily="49" charset="0"/>
              <a:buChar char="o"/>
            </a:pPr>
            <a:r>
              <a:rPr lang="de-CH" dirty="0"/>
              <a:t>Es sollen Einträge erstellt, bearbeitet und gelöscht werden können</a:t>
            </a:r>
          </a:p>
          <a:p>
            <a:pPr marL="507248" lvl="1" indent="-285750">
              <a:buFont typeface="Courier New" panose="02070309020205020404" pitchFamily="49" charset="0"/>
              <a:buChar char="o"/>
            </a:pPr>
            <a:r>
              <a:rPr lang="de-CH" dirty="0"/>
              <a:t>Eingaben sollen validiert werde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CH" dirty="0"/>
              <a:t>Erläuterungstexte</a:t>
            </a:r>
          </a:p>
          <a:p>
            <a:pPr marL="507248" lvl="1" indent="-285750">
              <a:buFont typeface="Courier New" panose="02070309020205020404" pitchFamily="49" charset="0"/>
              <a:buChar char="o"/>
            </a:pPr>
            <a:r>
              <a:rPr lang="de-CH" dirty="0"/>
              <a:t>Die Erläuterungen sind nach Kategorie gruppiert im </a:t>
            </a:r>
            <a:r>
              <a:rPr lang="de-CH" dirty="0" err="1"/>
              <a:t>SideNav</a:t>
            </a:r>
            <a:endParaRPr lang="de-CH" dirty="0"/>
          </a:p>
          <a:p>
            <a:pPr marL="507248" lvl="1" indent="-285750">
              <a:buFont typeface="Courier New" panose="02070309020205020404" pitchFamily="49" charset="0"/>
              <a:buChar char="o"/>
            </a:pPr>
            <a:r>
              <a:rPr lang="de-CH" dirty="0"/>
              <a:t>Farben, </a:t>
            </a:r>
            <a:r>
              <a:rPr lang="de-CH" dirty="0" err="1"/>
              <a:t>Textdecorations</a:t>
            </a:r>
            <a:r>
              <a:rPr lang="de-CH" dirty="0"/>
              <a:t> (</a:t>
            </a:r>
            <a:r>
              <a:rPr lang="de-CH" dirty="0" err="1"/>
              <a:t>bold</a:t>
            </a:r>
            <a:r>
              <a:rPr lang="de-CH" dirty="0"/>
              <a:t>, </a:t>
            </a:r>
            <a:r>
              <a:rPr lang="de-CH" dirty="0" err="1"/>
              <a:t>underline</a:t>
            </a:r>
            <a:r>
              <a:rPr lang="de-CH" dirty="0"/>
              <a:t>, </a:t>
            </a:r>
            <a:r>
              <a:rPr lang="de-CH" dirty="0" err="1"/>
              <a:t>italic</a:t>
            </a:r>
            <a:r>
              <a:rPr lang="de-CH" dirty="0"/>
              <a:t>) können nach belieben im Text gesetzt werden </a:t>
            </a:r>
          </a:p>
          <a:p>
            <a:pPr marL="507248" lvl="1" indent="-285750">
              <a:buFont typeface="Courier New" panose="02070309020205020404" pitchFamily="49" charset="0"/>
              <a:buChar char="o"/>
            </a:pPr>
            <a:r>
              <a:rPr lang="de-CH" dirty="0"/>
              <a:t>Pro Erläuterungstext (Typ) werden die Texte in allen 4 Sprachen angezeigt, </a:t>
            </a:r>
            <a:br>
              <a:rPr lang="de-CH" dirty="0"/>
            </a:br>
            <a:r>
              <a:rPr lang="de-CH" dirty="0"/>
              <a:t>welche auch bearbeitet werden können</a:t>
            </a:r>
            <a:br>
              <a:rPr lang="de-CH" dirty="0"/>
            </a:br>
            <a:endParaRPr lang="de-CH" dirty="0"/>
          </a:p>
          <a:p>
            <a:pPr marL="507248" lvl="1" indent="-285750">
              <a:buFont typeface="Courier New" panose="02070309020205020404" pitchFamily="49" charset="0"/>
              <a:buChar char="o"/>
            </a:pP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EB2BD8E-E2F2-F030-EE5E-D141B5861A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Aufgabenstellun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C58022C-137D-5F1B-3083-381E12AE6D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5</a:t>
            </a:fld>
            <a:endParaRPr lang="de-CH" dirty="0"/>
          </a:p>
        </p:txBody>
      </p:sp>
      <p:pic>
        <p:nvPicPr>
          <p:cNvPr id="3076" name="Picture 4" descr="Aufgabe - Kostenlose werkzeuge und utensilien-Icons">
            <a:extLst>
              <a:ext uri="{FF2B5EF4-FFF2-40B4-BE49-F238E27FC236}">
                <a16:creationId xmlns:a16="http://schemas.microsoft.com/office/drawing/2014/main" id="{EFF10F5C-D547-C33C-12E3-774CB0DB50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7773" y="3239224"/>
            <a:ext cx="2520280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34654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046FF1-C4F6-4907-F878-BBACE3B4DF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urchführ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DD15070-0857-B640-B2F7-A81C25AB0E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6</a:t>
            </a:fld>
            <a:endParaRPr lang="de-CH" dirty="0"/>
          </a:p>
        </p:txBody>
      </p:sp>
      <p:pic>
        <p:nvPicPr>
          <p:cNvPr id="5122" name="Picture 2" descr="Verfahren - Kostenlose geschäft und finanzen-Icons">
            <a:extLst>
              <a:ext uri="{FF2B5EF4-FFF2-40B4-BE49-F238E27FC236}">
                <a16:creationId xmlns:a16="http://schemas.microsoft.com/office/drawing/2014/main" id="{5180BEF4-6FD4-4045-204D-5AC96FA8ED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488" y="1691605"/>
            <a:ext cx="4876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12599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F1BBB0-9E12-9638-2432-259C8C3DE2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urchfüh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1FB210-F5D8-FCEB-879E-8862B214984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81166E2-43DD-D9CB-AACB-3F37F0C7ABA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Informier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DA7C22-BDE7-9917-5F03-71A24A7D98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7</a:t>
            </a:fld>
            <a:endParaRPr lang="de-CH" dirty="0"/>
          </a:p>
        </p:txBody>
      </p:sp>
      <p:pic>
        <p:nvPicPr>
          <p:cNvPr id="6146" name="Picture 2" descr="Datenbank - Kostenlose seo und web-Icons">
            <a:extLst>
              <a:ext uri="{FF2B5EF4-FFF2-40B4-BE49-F238E27FC236}">
                <a16:creationId xmlns:a16="http://schemas.microsoft.com/office/drawing/2014/main" id="{4C55F09A-C441-1A9D-B1B4-0406B5293C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7279" y="3532743"/>
            <a:ext cx="1790329" cy="1790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Anforderung - Kostenlose daten und ordner-Icons">
            <a:extLst>
              <a:ext uri="{FF2B5EF4-FFF2-40B4-BE49-F238E27FC236}">
                <a16:creationId xmlns:a16="http://schemas.microsoft.com/office/drawing/2014/main" id="{2AD85090-7932-A315-4690-0F901E3858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4722" y="3532743"/>
            <a:ext cx="1790329" cy="1790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Umfeld - Kostenlose technologie Icons">
            <a:extLst>
              <a:ext uri="{FF2B5EF4-FFF2-40B4-BE49-F238E27FC236}">
                <a16:creationId xmlns:a16="http://schemas.microsoft.com/office/drawing/2014/main" id="{B32F9C37-C35A-AF2B-F6BF-720E5487D2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2165" y="3529245"/>
            <a:ext cx="1790329" cy="1790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8785FD9F-A6D4-9181-CBC3-301C7090061A}"/>
              </a:ext>
            </a:extLst>
          </p:cNvPr>
          <p:cNvSpPr txBox="1"/>
          <p:nvPr/>
        </p:nvSpPr>
        <p:spPr>
          <a:xfrm>
            <a:off x="1319287" y="5526547"/>
            <a:ext cx="1718321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600" dirty="0"/>
              <a:t>Datenbank studier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F896B8D-A539-5167-AB69-BA3843BD7597}"/>
              </a:ext>
            </a:extLst>
          </p:cNvPr>
          <p:cNvSpPr txBox="1"/>
          <p:nvPr/>
        </p:nvSpPr>
        <p:spPr>
          <a:xfrm>
            <a:off x="5714241" y="5529126"/>
            <a:ext cx="2011290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600" dirty="0"/>
              <a:t>Projektanforderung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8D6CB91-9FA7-C7DD-A521-C61E7E998138}"/>
              </a:ext>
            </a:extLst>
          </p:cNvPr>
          <p:cNvSpPr txBox="1"/>
          <p:nvPr/>
        </p:nvSpPr>
        <p:spPr>
          <a:xfrm>
            <a:off x="10291684" y="5529126"/>
            <a:ext cx="2011290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600" dirty="0"/>
              <a:t>Projektumfeld</a:t>
            </a:r>
          </a:p>
        </p:txBody>
      </p:sp>
    </p:spTree>
    <p:extLst>
      <p:ext uri="{BB962C8B-B14F-4D97-AF65-F5344CB8AC3E}">
        <p14:creationId xmlns:p14="http://schemas.microsoft.com/office/powerpoint/2010/main" val="15217077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D335CE-164B-399D-84A3-C789B3361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urchführu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B467CFB-3AB1-2DA3-9943-EAFC8F9649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Plan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94AE13-291C-A1EA-2032-7D0AF97785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8</a:t>
            </a:fld>
            <a:endParaRPr lang="de-CH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6E59203-51C9-E109-19FD-719C933E5D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3268" y="2051829"/>
            <a:ext cx="12892087" cy="4895070"/>
          </a:xfrm>
        </p:spPr>
        <p:txBody>
          <a:bodyPr/>
          <a:lstStyle/>
          <a:p>
            <a:endParaRPr lang="de-CH" dirty="0"/>
          </a:p>
          <a:p>
            <a:endParaRPr lang="de-CH" dirty="0"/>
          </a:p>
        </p:txBody>
      </p:sp>
      <p:graphicFrame>
        <p:nvGraphicFramePr>
          <p:cNvPr id="10" name="Inhaltsplatzhalter 6">
            <a:extLst>
              <a:ext uri="{FF2B5EF4-FFF2-40B4-BE49-F238E27FC236}">
                <a16:creationId xmlns:a16="http://schemas.microsoft.com/office/drawing/2014/main" id="{EFF9B1E9-3104-C7A7-4F59-819FEC4F30C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205045"/>
              </p:ext>
            </p:extLst>
          </p:nvPr>
        </p:nvGraphicFramePr>
        <p:xfrm>
          <a:off x="514197" y="2195661"/>
          <a:ext cx="9363695" cy="45037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172" name="Picture 4" descr="Planung - Kostenlose sport-Icons">
            <a:extLst>
              <a:ext uri="{FF2B5EF4-FFF2-40B4-BE49-F238E27FC236}">
                <a16:creationId xmlns:a16="http://schemas.microsoft.com/office/drawing/2014/main" id="{74BD53D3-0E88-08BA-5F97-A3F03E438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1472" y="4283893"/>
            <a:ext cx="2222377" cy="2222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27844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9A9DA1-D138-E44E-1CCB-EF5CAC544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urchfüh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1A09A42-B937-7BD3-EF51-01A106D19BD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C70BB7F-8BFA-4A0F-B3A2-FB0DF3601A7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dirty="0"/>
              <a:t>Entscheid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26391B6-A5BE-780A-99A4-FAB076A519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643FF1-1918-4E1A-96F4-73A76701DE57}" type="slidenum">
              <a:rPr lang="de-CH" smtClean="0"/>
              <a:pPr/>
              <a:t>9</a:t>
            </a:fld>
            <a:endParaRPr lang="de-CH" dirty="0"/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4CF1AEF8-9A74-8CA5-F91F-AC2ACF4D176A}"/>
              </a:ext>
            </a:extLst>
          </p:cNvPr>
          <p:cNvSpPr/>
          <p:nvPr/>
        </p:nvSpPr>
        <p:spPr>
          <a:xfrm>
            <a:off x="2644756" y="2843733"/>
            <a:ext cx="8136904" cy="3672408"/>
          </a:xfrm>
          <a:prstGeom prst="roundRect">
            <a:avLst/>
          </a:prstGeom>
          <a:solidFill>
            <a:schemeClr val="tx2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200" dirty="0" err="1">
              <a:solidFill>
                <a:schemeClr val="tx1"/>
              </a:solidFill>
            </a:endParaRPr>
          </a:p>
        </p:txBody>
      </p:sp>
      <p:pic>
        <p:nvPicPr>
          <p:cNvPr id="13" name="Picture 2" descr="Editor - Kostenlose industrie-Icons">
            <a:extLst>
              <a:ext uri="{FF2B5EF4-FFF2-40B4-BE49-F238E27FC236}">
                <a16:creationId xmlns:a16="http://schemas.microsoft.com/office/drawing/2014/main" id="{4437AFDE-83E7-CB7A-4AFB-3D4F5F77B9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6438" y="3372222"/>
            <a:ext cx="2510409" cy="2510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8" descr="Rtf rich text Datei format Erweiterung - Download kostenlose symbole">
            <a:extLst>
              <a:ext uri="{FF2B5EF4-FFF2-40B4-BE49-F238E27FC236}">
                <a16:creationId xmlns:a16="http://schemas.microsoft.com/office/drawing/2014/main" id="{BB76DEBD-8833-A801-970E-38555B288C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8189" y="3594810"/>
            <a:ext cx="2088232" cy="20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0" descr="Entscheiden - Kostenlose menschen-Icons">
            <a:extLst>
              <a:ext uri="{FF2B5EF4-FFF2-40B4-BE49-F238E27FC236}">
                <a16:creationId xmlns:a16="http://schemas.microsoft.com/office/drawing/2014/main" id="{7A82F0C6-8FAF-4A3B-B4C0-5C77293BEE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6682" y="4363505"/>
            <a:ext cx="1103513" cy="1103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E0AA7924-5E2C-E4B4-B035-7037C2CF0FF1}"/>
              </a:ext>
            </a:extLst>
          </p:cNvPr>
          <p:cNvSpPr txBox="1"/>
          <p:nvPr/>
        </p:nvSpPr>
        <p:spPr>
          <a:xfrm>
            <a:off x="3273147" y="5659003"/>
            <a:ext cx="1800200" cy="425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600" dirty="0"/>
              <a:t>Editor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4849036-D96B-A0EB-362F-2AF53D411A89}"/>
              </a:ext>
            </a:extLst>
          </p:cNvPr>
          <p:cNvSpPr txBox="1"/>
          <p:nvPr/>
        </p:nvSpPr>
        <p:spPr>
          <a:xfrm>
            <a:off x="8232556" y="5656346"/>
            <a:ext cx="1800200" cy="425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600" dirty="0"/>
              <a:t>Rich Text Format</a:t>
            </a:r>
          </a:p>
        </p:txBody>
      </p:sp>
    </p:spTree>
    <p:extLst>
      <p:ext uri="{BB962C8B-B14F-4D97-AF65-F5344CB8AC3E}">
        <p14:creationId xmlns:p14="http://schemas.microsoft.com/office/powerpoint/2010/main" val="948666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MjCPEmFxhAvaDKXvlQD5kFAAAAAAADAAAAAwADAAAAAQADAAEA////////BAAAAAMAEAALiZbt8ATjmkSLbRd/TSQ38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aAAZMaW5rZWRTaGFwZXNEYXRhUHJvcGVydHlfMAUAAAAAAAQAAAADAAQAAAABAA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MjCPEmFxhAvaDKXvlQD5kDRGF0YQAbAAAABExpbmtlZFNoYXBlRGF0YQAFAAAAAAACTmFtZQAZAAAATGlua2VkU2hhcGVzRGF0YVByb3BlcnR5ABBWZXJzaW9uAAAAAAAJTGFzdFdyaXRlALOUvld+AQAAAAEA/////8YAxgAAAAVfaWQAEAAAAASJlu3wBOOaRIttF39NJDfxA0RhdGEAUwAAAAhQcmVzZW50YXRpb25TY2FubmVkRm9yTGlua2VkU2hhcGVzAAECTnVtYmVyRm9ybWF0U2VwYXJhdG9yTW9kZQAKAAAAQXV0b21hdGljAAACTmFtZQAkAAAATGlua2VkU2hhcGVQcmVzZW50YXRpb25TZXR0aW5nc0RhdGEAEFZlcnNpb24AAAAAAAlMYXN0V3JpdGUA0pS+V3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Standard">
  <a:themeElements>
    <a:clrScheme name="VZ_Farben">
      <a:dk1>
        <a:srgbClr val="000000"/>
      </a:dk1>
      <a:lt1>
        <a:srgbClr val="000000"/>
      </a:lt1>
      <a:dk2>
        <a:srgbClr val="F1F1F1"/>
      </a:dk2>
      <a:lt2>
        <a:srgbClr val="E1E3F0"/>
      </a:lt2>
      <a:accent1>
        <a:srgbClr val="004388"/>
      </a:accent1>
      <a:accent2>
        <a:srgbClr val="B6C39D"/>
      </a:accent2>
      <a:accent3>
        <a:srgbClr val="738293"/>
      </a:accent3>
      <a:accent4>
        <a:srgbClr val="CACC8D"/>
      </a:accent4>
      <a:accent5>
        <a:srgbClr val="C15527"/>
      </a:accent5>
      <a:accent6>
        <a:srgbClr val="F3E916"/>
      </a:accent6>
      <a:hlink>
        <a:srgbClr val="C15527"/>
      </a:hlink>
      <a:folHlink>
        <a:srgbClr val="C15527"/>
      </a:folHlink>
    </a:clrScheme>
    <a:fontScheme name="VZ Schrift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000" dirty="0" err="1" smtClean="0"/>
        </a:defPPr>
      </a:lstStyle>
    </a:txDef>
  </a:objectDefaults>
  <a:extraClrSchemeLst>
    <a:extraClrScheme>
      <a:clrScheme name="VZ Graustufen">
        <a:dk1>
          <a:srgbClr val="000000"/>
        </a:dk1>
        <a:lt1>
          <a:srgbClr val="FFFFFF"/>
        </a:lt1>
        <a:dk2>
          <a:srgbClr val="E6E6E6"/>
        </a:dk2>
        <a:lt2>
          <a:srgbClr val="FFFFFF"/>
        </a:lt2>
        <a:accent1>
          <a:srgbClr val="E6E6E6"/>
        </a:accent1>
        <a:accent2>
          <a:srgbClr val="C0C0C0"/>
        </a:accent2>
        <a:accent3>
          <a:srgbClr val="A9A9A9"/>
        </a:accent3>
        <a:accent4>
          <a:srgbClr val="939393"/>
        </a:accent4>
        <a:accent5>
          <a:srgbClr val="7D7D7D"/>
        </a:accent5>
        <a:accent6>
          <a:srgbClr val="646464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4" id="{8D276F3C-578C-4DFC-9363-F08B100FE5E4}" vid="{528A4ED3-60B9-4999-85B2-EE6A001AABD1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3F56E3A0C96A9458FA30BE9A0AEB245" ma:contentTypeVersion="21" ma:contentTypeDescription="Ein neues Dokument erstellen." ma:contentTypeScope="" ma:versionID="3622a209b2bd359c5a0e62f62f256ec4">
  <xsd:schema xmlns:xsd="http://www.w3.org/2001/XMLSchema" xmlns:xs="http://www.w3.org/2001/XMLSchema" xmlns:p="http://schemas.microsoft.com/office/2006/metadata/properties" xmlns:ns2="8fe65e29-f426-45b3-9bcc-d75f90d7533e" xmlns:ns3="be113b60-0a88-45ba-85d2-46c4c36c34b8" targetNamespace="http://schemas.microsoft.com/office/2006/metadata/properties" ma:root="true" ma:fieldsID="8dca5f27f2d3aa8c714de1021a29ef91" ns2:_="" ns3:_="">
    <xsd:import namespace="8fe65e29-f426-45b3-9bcc-d75f90d7533e"/>
    <xsd:import namespace="be113b60-0a88-45ba-85d2-46c4c36c34b8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3:Verantwortlicher"/>
                <xsd:element ref="ns3:Beschreibung" minOccurs="0"/>
                <xsd:element ref="ns3:m5c5ae81718843e4879a66eab6a54c92" minOccurs="0"/>
                <xsd:element ref="ns2:_dlc_DocId" minOccurs="0"/>
                <xsd:element ref="ns2:_dlc_DocIdUrl" minOccurs="0"/>
                <xsd:element ref="ns2:_dlc_DocIdPersistId" minOccurs="0"/>
                <xsd:element ref="ns3:NichtInChartsAnzeig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e65e29-f426-45b3-9bcc-d75f90d7533e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b43f278d-4509-4f9b-8917-c918c6794e5a}" ma:internalName="TaxCatchAll" ma:showField="CatchAllData" ma:web="8fe65e29-f426-45b3-9bcc-d75f90d7533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_dlc_DocId" ma:index="13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4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5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113b60-0a88-45ba-85d2-46c4c36c34b8" elementFormDefault="qualified">
    <xsd:import namespace="http://schemas.microsoft.com/office/2006/documentManagement/types"/>
    <xsd:import namespace="http://schemas.microsoft.com/office/infopath/2007/PartnerControls"/>
    <xsd:element name="Verantwortlicher" ma:index="9" ma:displayName="Verantwortlicher" ma:list="UserInfo" ma:SharePointGroup="0" ma:internalName="Verantwortlich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Beschreibung" ma:index="10" nillable="true" ma:displayName="Beschreibung" ma:internalName="Beschreibung">
      <xsd:simpleType>
        <xsd:restriction base="dms:Note">
          <xsd:maxLength value="255"/>
        </xsd:restriction>
      </xsd:simpleType>
    </xsd:element>
    <xsd:element name="m5c5ae81718843e4879a66eab6a54c92" ma:index="12" nillable="true" ma:taxonomy="true" ma:internalName="m5c5ae81718843e4879a66eab6a54c92" ma:taxonomyFieldName="Keywords" ma:displayName="Keywords" ma:readOnly="false" ma:default="" ma:fieldId="{65c5ae81-7188-43e4-879a-66eab6a54c92}" ma:taxonomyMulti="true" ma:sspId="b4140709-2e2e-45b3-82e9-f28a862e62e3" ma:termSetId="e2ffc534-5b61-4506-b3f2-051cdff23a0e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NichtInChartsAnzeigen" ma:index="16" nillable="true" ma:displayName="Nicht in Charts anzeigen" ma:default="0" ma:internalName="NichtInChartsAnzeigen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 ma:index="11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pc="http://schemas.microsoft.com/office/infopath/2007/PartnerControls" xmlns:xsi="http://www.w3.org/2001/XMLSchema-instance">
  <documentManagement>
    <Beschreibung xmlns="be113b60-0a88-45ba-85d2-46c4c36c34b8" xsi:nil="true"/>
    <NichtInChartsAnzeigen xmlns="be113b60-0a88-45ba-85d2-46c4c36c34b8">true</NichtInChartsAnzeigen>
    <m5c5ae81718843e4879a66eab6a54c92 xmlns="be113b60-0a88-45ba-85d2-46c4c36c34b8">
      <Terms xmlns="http://schemas.microsoft.com/office/infopath/2007/PartnerControls"/>
    </m5c5ae81718843e4879a66eab6a54c92>
    <TaxCatchAll xmlns="8fe65e29-f426-45b3-9bcc-d75f90d7533e"/>
    <Verantwortlicher xmlns="be113b60-0a88-45ba-85d2-46c4c36c34b8">
      <UserInfo>
        <DisplayName>Marco Staub</DisplayName>
        <AccountId>15</AccountId>
        <AccountType/>
      </UserInfo>
    </Verantwortlicher>
    <_dlc_DocId xmlns="8fe65e29-f426-45b3-9bcc-d75f90d7533e">QHDXX4JQPXP7-7-550</_dlc_DocId>
    <_dlc_DocIdUrl xmlns="8fe65e29-f426-45b3-9bcc-d75f90d7533e">
      <Url>http://vorlagen.vz.ch/_layouts/DocIdRedir.aspx?ID=QHDXX4JQPXP7-7-550</Url>
      <Description>QHDXX4JQPXP7-7-550</Description>
    </_dlc_DocIdUrl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AD8D5350-95D7-406E-9B65-C620523CD06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9796BF3-353D-4856-9FC9-0FB0AC1DBF1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fe65e29-f426-45b3-9bcc-d75f90d7533e"/>
    <ds:schemaRef ds:uri="be113b60-0a88-45ba-85d2-46c4c36c34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59E5BA7-B814-49D9-9412-B2D7E108797C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8fe65e29-f426-45b3-9bcc-d75f90d7533e"/>
    <ds:schemaRef ds:uri="http://purl.org/dc/elements/1.1/"/>
    <ds:schemaRef ds:uri="http://schemas.microsoft.com/office/2006/metadata/properties"/>
    <ds:schemaRef ds:uri="be113b60-0a88-45ba-85d2-46c4c36c34b8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69696AF2-4C33-4F2F-8B42-25C535CB5828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C-Präsentation 16_9 (Webinar, Workshops)</Template>
  <TotalTime>0</TotalTime>
  <Words>285</Words>
  <Application>Microsoft Office PowerPoint</Application>
  <PresentationFormat>Benutzerdefiniert</PresentationFormat>
  <Paragraphs>115</Paragraphs>
  <Slides>17</Slides>
  <Notes>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2" baseType="lpstr">
      <vt:lpstr>Arial</vt:lpstr>
      <vt:lpstr>Calibri</vt:lpstr>
      <vt:lpstr>Courier New</vt:lpstr>
      <vt:lpstr>Segoe UI</vt:lpstr>
      <vt:lpstr>Standard</vt:lpstr>
      <vt:lpstr>Erstellen einer Adminmaske zur Erfassung von Standardwerten</vt:lpstr>
      <vt:lpstr>Inhaltsverzeichnis</vt:lpstr>
      <vt:lpstr>Einleitung</vt:lpstr>
      <vt:lpstr>Einleitung</vt:lpstr>
      <vt:lpstr>Einleitung</vt:lpstr>
      <vt:lpstr>Durchführung</vt:lpstr>
      <vt:lpstr>Durchführung</vt:lpstr>
      <vt:lpstr>Durchführung</vt:lpstr>
      <vt:lpstr>Durchführung</vt:lpstr>
      <vt:lpstr>Durchführung</vt:lpstr>
      <vt:lpstr>Durchführung</vt:lpstr>
      <vt:lpstr>Durchführung</vt:lpstr>
      <vt:lpstr>Durchführung</vt:lpstr>
      <vt:lpstr>Reflexion</vt:lpstr>
      <vt:lpstr>Reflexion</vt:lpstr>
      <vt:lpstr>Reflexion</vt:lpstr>
      <vt:lpstr>Fragen</vt:lpstr>
    </vt:vector>
  </TitlesOfParts>
  <Company>VZ VermoegensZentrum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lion Bajrami</dc:creator>
  <cp:lastModifiedBy>Elion Bajrami</cp:lastModifiedBy>
  <cp:revision>106</cp:revision>
  <cp:lastPrinted>2022-04-08T08:18:48Z</cp:lastPrinted>
  <dcterms:created xsi:type="dcterms:W3CDTF">2024-04-10T10:32:44Z</dcterms:created>
  <dcterms:modified xsi:type="dcterms:W3CDTF">2024-04-12T12:14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F56E3A0C96A9458FA30BE9A0AEB245</vt:lpwstr>
  </property>
  <property fmtid="{D5CDD505-2E9C-101B-9397-08002B2CF9AE}" pid="3" name="_dlc_DocIdItemGuid">
    <vt:lpwstr>2f28bbf3-4d34-4fa4-90ca-11b1174a800c</vt:lpwstr>
  </property>
</Properties>
</file>